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7" r:id="rId1"/>
  </p:sldMasterIdLst>
  <p:notesMasterIdLst>
    <p:notesMasterId r:id="rId24"/>
  </p:notesMasterIdLst>
  <p:handoutMasterIdLst>
    <p:handoutMasterId r:id="rId25"/>
  </p:handoutMasterIdLst>
  <p:sldIdLst>
    <p:sldId id="260" r:id="rId2"/>
    <p:sldId id="298" r:id="rId3"/>
    <p:sldId id="292" r:id="rId4"/>
    <p:sldId id="270" r:id="rId5"/>
    <p:sldId id="267" r:id="rId6"/>
    <p:sldId id="297" r:id="rId7"/>
    <p:sldId id="293" r:id="rId8"/>
    <p:sldId id="289" r:id="rId9"/>
    <p:sldId id="290" r:id="rId10"/>
    <p:sldId id="264" r:id="rId11"/>
    <p:sldId id="282" r:id="rId12"/>
    <p:sldId id="281" r:id="rId13"/>
    <p:sldId id="280" r:id="rId14"/>
    <p:sldId id="283" r:id="rId15"/>
    <p:sldId id="295" r:id="rId16"/>
    <p:sldId id="287" r:id="rId17"/>
    <p:sldId id="288" r:id="rId18"/>
    <p:sldId id="278" r:id="rId19"/>
    <p:sldId id="266" r:id="rId20"/>
    <p:sldId id="294" r:id="rId21"/>
    <p:sldId id="296" r:id="rId22"/>
    <p:sldId id="291" r:id="rId23"/>
  </p:sldIdLst>
  <p:sldSz cx="9144000" cy="6858000" type="screen4x3"/>
  <p:notesSz cx="7010400" cy="92964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971" autoAdjust="0"/>
  </p:normalViewPr>
  <p:slideViewPr>
    <p:cSldViewPr snapToGrid="0" snapToObjects="1">
      <p:cViewPr varScale="1">
        <p:scale>
          <a:sx n="81" d="100"/>
          <a:sy n="81" d="100"/>
        </p:scale>
        <p:origin x="1498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0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08BBEE-F5F3-4238-A5B2-81D3C67343D1}" type="doc">
      <dgm:prSet loTypeId="urn:microsoft.com/office/officeart/2005/8/layout/cycle2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B471317A-610F-4D08-AD68-2A23894440F4}">
      <dgm:prSet phldrT="[Text]" custT="1"/>
      <dgm:spPr/>
      <dgm:t>
        <a:bodyPr/>
        <a:lstStyle/>
        <a:p>
          <a:r>
            <a:rPr lang="en-US" sz="1100" dirty="0" smtClean="0">
              <a:solidFill>
                <a:srgbClr val="FFFF00"/>
              </a:solidFill>
            </a:rPr>
            <a:t>Clearly state the goal</a:t>
          </a:r>
          <a:endParaRPr lang="en-US" sz="1100" dirty="0">
            <a:solidFill>
              <a:srgbClr val="FFFF00"/>
            </a:solidFill>
          </a:endParaRPr>
        </a:p>
      </dgm:t>
    </dgm:pt>
    <dgm:pt modelId="{50678D29-4847-4AB1-8789-9CCDA0DBE1B4}" type="parTrans" cxnId="{80ACC51D-8311-423E-94E0-6C607B5BFFA5}">
      <dgm:prSet/>
      <dgm:spPr/>
      <dgm:t>
        <a:bodyPr/>
        <a:lstStyle/>
        <a:p>
          <a:endParaRPr lang="en-US"/>
        </a:p>
      </dgm:t>
    </dgm:pt>
    <dgm:pt modelId="{E736EBDA-1CC6-4559-93CF-A23ABAB1D78C}" type="sibTrans" cxnId="{80ACC51D-8311-423E-94E0-6C607B5BFFA5}">
      <dgm:prSet/>
      <dgm:spPr/>
      <dgm:t>
        <a:bodyPr/>
        <a:lstStyle/>
        <a:p>
          <a:endParaRPr lang="en-US"/>
        </a:p>
      </dgm:t>
    </dgm:pt>
    <dgm:pt modelId="{0A9B1E37-6C7B-4BA5-A15F-F38CA4BA90A2}">
      <dgm:prSet phldrT="[Text]" custT="1"/>
      <dgm:spPr/>
      <dgm:t>
        <a:bodyPr/>
        <a:lstStyle/>
        <a:p>
          <a:r>
            <a:rPr lang="en-US" sz="1100" dirty="0" smtClean="0"/>
            <a:t>Identify risks to reaching the goal</a:t>
          </a:r>
          <a:endParaRPr lang="en-US" sz="1100" dirty="0"/>
        </a:p>
      </dgm:t>
    </dgm:pt>
    <dgm:pt modelId="{4C2D8F6E-1F95-44E8-ACC7-EA468EE0F59A}" type="parTrans" cxnId="{B9630149-C7A1-4A23-AC1E-05310894F01B}">
      <dgm:prSet/>
      <dgm:spPr/>
      <dgm:t>
        <a:bodyPr/>
        <a:lstStyle/>
        <a:p>
          <a:endParaRPr lang="en-US"/>
        </a:p>
      </dgm:t>
    </dgm:pt>
    <dgm:pt modelId="{408374D8-0CBD-45D7-AC80-056A8ECDA505}" type="sibTrans" cxnId="{B9630149-C7A1-4A23-AC1E-05310894F01B}">
      <dgm:prSet/>
      <dgm:spPr/>
      <dgm:t>
        <a:bodyPr/>
        <a:lstStyle/>
        <a:p>
          <a:endParaRPr lang="en-US"/>
        </a:p>
      </dgm:t>
    </dgm:pt>
    <dgm:pt modelId="{52269DE6-8587-4814-87A1-7AB631528928}">
      <dgm:prSet phldrT="[Text]" custT="1"/>
      <dgm:spPr/>
      <dgm:t>
        <a:bodyPr/>
        <a:lstStyle/>
        <a:p>
          <a:r>
            <a:rPr lang="en-US" sz="1100" dirty="0" smtClean="0"/>
            <a:t>Rank risks by likelihood and impact</a:t>
          </a:r>
          <a:endParaRPr lang="en-US" sz="1100" dirty="0"/>
        </a:p>
      </dgm:t>
    </dgm:pt>
    <dgm:pt modelId="{18A77B50-F7A0-43DA-BF91-DE6ECEB667EA}" type="parTrans" cxnId="{8253DD4E-839B-4B8E-9C92-134402A23FB7}">
      <dgm:prSet/>
      <dgm:spPr/>
      <dgm:t>
        <a:bodyPr/>
        <a:lstStyle/>
        <a:p>
          <a:endParaRPr lang="en-US"/>
        </a:p>
      </dgm:t>
    </dgm:pt>
    <dgm:pt modelId="{4CF6756E-64F8-43DD-9B11-2742E57875A0}" type="sibTrans" cxnId="{8253DD4E-839B-4B8E-9C92-134402A23FB7}">
      <dgm:prSet/>
      <dgm:spPr/>
      <dgm:t>
        <a:bodyPr/>
        <a:lstStyle/>
        <a:p>
          <a:endParaRPr lang="en-US"/>
        </a:p>
      </dgm:t>
    </dgm:pt>
    <dgm:pt modelId="{4EBC3B1F-79EB-4105-9E38-4B140797C2A5}">
      <dgm:prSet phldrT="[Text]" custT="1"/>
      <dgm:spPr/>
      <dgm:t>
        <a:bodyPr/>
        <a:lstStyle/>
        <a:p>
          <a:r>
            <a:rPr lang="en-US" sz="1100" dirty="0" smtClean="0"/>
            <a:t>Leadership review and approval</a:t>
          </a:r>
          <a:endParaRPr lang="en-US" sz="1100" dirty="0"/>
        </a:p>
      </dgm:t>
    </dgm:pt>
    <dgm:pt modelId="{046A953E-205E-4CC8-8E0D-A6C560FCBD16}" type="parTrans" cxnId="{834EBDB7-06E0-4C62-AA71-113D58752CF8}">
      <dgm:prSet/>
      <dgm:spPr/>
      <dgm:t>
        <a:bodyPr/>
        <a:lstStyle/>
        <a:p>
          <a:endParaRPr lang="en-US"/>
        </a:p>
      </dgm:t>
    </dgm:pt>
    <dgm:pt modelId="{9990EF1A-F7F6-4F87-A71F-551DBCC8100B}" type="sibTrans" cxnId="{834EBDB7-06E0-4C62-AA71-113D58752CF8}">
      <dgm:prSet/>
      <dgm:spPr/>
      <dgm:t>
        <a:bodyPr/>
        <a:lstStyle/>
        <a:p>
          <a:endParaRPr lang="en-US"/>
        </a:p>
      </dgm:t>
    </dgm:pt>
    <dgm:pt modelId="{83E3A09E-3825-4144-BFB6-64C3C2293AFD}">
      <dgm:prSet phldrT="[Text]" custT="1"/>
      <dgm:spPr/>
      <dgm:t>
        <a:bodyPr/>
        <a:lstStyle/>
        <a:p>
          <a:r>
            <a:rPr lang="en-US" sz="1100" dirty="0" smtClean="0"/>
            <a:t>Share</a:t>
          </a:r>
        </a:p>
        <a:p>
          <a:r>
            <a:rPr lang="en-US" sz="1100" dirty="0" smtClean="0"/>
            <a:t>results</a:t>
          </a:r>
          <a:endParaRPr lang="en-US" sz="1100" dirty="0"/>
        </a:p>
      </dgm:t>
    </dgm:pt>
    <dgm:pt modelId="{26EB77D4-C3F6-4E46-9DA2-B207CBCDBBB9}" type="parTrans" cxnId="{AC554B5A-5E21-4688-8B0A-EEAEE6CB7D52}">
      <dgm:prSet/>
      <dgm:spPr/>
      <dgm:t>
        <a:bodyPr/>
        <a:lstStyle/>
        <a:p>
          <a:endParaRPr lang="en-US"/>
        </a:p>
      </dgm:t>
    </dgm:pt>
    <dgm:pt modelId="{DEEB4D12-F376-4E95-8FC3-07F3DA282A80}" type="sibTrans" cxnId="{AC554B5A-5E21-4688-8B0A-EEAEE6CB7D52}">
      <dgm:prSet/>
      <dgm:spPr/>
      <dgm:t>
        <a:bodyPr/>
        <a:lstStyle/>
        <a:p>
          <a:endParaRPr lang="en-US"/>
        </a:p>
      </dgm:t>
    </dgm:pt>
    <dgm:pt modelId="{C47A3F83-5EA1-4050-9846-CCDD342C91FD}">
      <dgm:prSet custT="1"/>
      <dgm:spPr/>
      <dgm:t>
        <a:bodyPr/>
        <a:lstStyle/>
        <a:p>
          <a:r>
            <a:rPr lang="en-US" sz="1100" dirty="0" smtClean="0"/>
            <a:t>Develop Risk Register &amp; Treatment Plans</a:t>
          </a:r>
          <a:endParaRPr lang="en-US" sz="1100" dirty="0"/>
        </a:p>
      </dgm:t>
    </dgm:pt>
    <dgm:pt modelId="{185561BC-B2F3-445C-8BC2-5D7ABABDF94D}" type="parTrans" cxnId="{75C4EB7B-6905-425F-A9E4-517A3B91D49A}">
      <dgm:prSet/>
      <dgm:spPr/>
      <dgm:t>
        <a:bodyPr/>
        <a:lstStyle/>
        <a:p>
          <a:endParaRPr lang="en-US"/>
        </a:p>
      </dgm:t>
    </dgm:pt>
    <dgm:pt modelId="{77D0FD63-DEEF-4B38-B5CF-3FA7EC3597B8}" type="sibTrans" cxnId="{75C4EB7B-6905-425F-A9E4-517A3B91D49A}">
      <dgm:prSet/>
      <dgm:spPr/>
      <dgm:t>
        <a:bodyPr/>
        <a:lstStyle/>
        <a:p>
          <a:endParaRPr lang="en-US"/>
        </a:p>
      </dgm:t>
    </dgm:pt>
    <dgm:pt modelId="{05EBD626-FFE7-42E9-A339-A5285F7354F7}">
      <dgm:prSet custT="1"/>
      <dgm:spPr/>
      <dgm:t>
        <a:bodyPr/>
        <a:lstStyle/>
        <a:p>
          <a:r>
            <a:rPr lang="en-US" sz="1100" dirty="0" smtClean="0"/>
            <a:t>Prioritize the risks</a:t>
          </a:r>
          <a:endParaRPr lang="en-US" sz="1100" dirty="0"/>
        </a:p>
      </dgm:t>
    </dgm:pt>
    <dgm:pt modelId="{D2E324EE-5E4B-4FAB-8446-D590A8BD96A3}" type="parTrans" cxnId="{BF9348ED-EC65-4112-9407-8D9D6180253F}">
      <dgm:prSet/>
      <dgm:spPr/>
      <dgm:t>
        <a:bodyPr/>
        <a:lstStyle/>
        <a:p>
          <a:endParaRPr lang="en-US"/>
        </a:p>
      </dgm:t>
    </dgm:pt>
    <dgm:pt modelId="{290C055D-236D-4BB9-907E-706363F9A04E}" type="sibTrans" cxnId="{BF9348ED-EC65-4112-9407-8D9D6180253F}">
      <dgm:prSet/>
      <dgm:spPr/>
      <dgm:t>
        <a:bodyPr/>
        <a:lstStyle/>
        <a:p>
          <a:endParaRPr lang="en-US"/>
        </a:p>
      </dgm:t>
    </dgm:pt>
    <dgm:pt modelId="{F9C5C152-1A96-43E1-B697-06879F2FB48F}">
      <dgm:prSet custT="1"/>
      <dgm:spPr/>
      <dgm:t>
        <a:bodyPr/>
        <a:lstStyle/>
        <a:p>
          <a:r>
            <a:rPr lang="en-US" sz="1100" dirty="0" smtClean="0"/>
            <a:t>Measure success</a:t>
          </a:r>
          <a:endParaRPr lang="en-US" sz="1100" dirty="0"/>
        </a:p>
      </dgm:t>
    </dgm:pt>
    <dgm:pt modelId="{BCE3986D-47D7-4EF4-918A-C0BB2F37309C}" type="parTrans" cxnId="{520B3DA2-7EFF-4CAC-969D-8EC8A0D25CBC}">
      <dgm:prSet/>
      <dgm:spPr/>
      <dgm:t>
        <a:bodyPr/>
        <a:lstStyle/>
        <a:p>
          <a:endParaRPr lang="en-US"/>
        </a:p>
      </dgm:t>
    </dgm:pt>
    <dgm:pt modelId="{A8B3DEA8-E8D8-41D4-AD31-36737F760D3B}" type="sibTrans" cxnId="{520B3DA2-7EFF-4CAC-969D-8EC8A0D25CBC}">
      <dgm:prSet/>
      <dgm:spPr/>
      <dgm:t>
        <a:bodyPr/>
        <a:lstStyle/>
        <a:p>
          <a:endParaRPr lang="en-US"/>
        </a:p>
      </dgm:t>
    </dgm:pt>
    <dgm:pt modelId="{51D5696E-4F4A-4A24-9E3E-FAED5C492A93}">
      <dgm:prSet/>
      <dgm:spPr/>
      <dgm:t>
        <a:bodyPr/>
        <a:lstStyle/>
        <a:p>
          <a:r>
            <a:rPr lang="en-US" dirty="0" smtClean="0"/>
            <a:t>Implement Treatment Plans</a:t>
          </a:r>
          <a:endParaRPr lang="en-US" dirty="0"/>
        </a:p>
      </dgm:t>
    </dgm:pt>
    <dgm:pt modelId="{1472C8F7-870A-4265-9D86-353B98EAEF97}" type="parTrans" cxnId="{0D77CE14-4D91-494F-8A87-0888F9898B49}">
      <dgm:prSet/>
      <dgm:spPr/>
      <dgm:t>
        <a:bodyPr/>
        <a:lstStyle/>
        <a:p>
          <a:endParaRPr lang="en-US"/>
        </a:p>
      </dgm:t>
    </dgm:pt>
    <dgm:pt modelId="{77653D17-B2FB-4C7A-973B-97CF8D013442}" type="sibTrans" cxnId="{0D77CE14-4D91-494F-8A87-0888F9898B49}">
      <dgm:prSet/>
      <dgm:spPr/>
      <dgm:t>
        <a:bodyPr/>
        <a:lstStyle/>
        <a:p>
          <a:endParaRPr lang="en-US"/>
        </a:p>
      </dgm:t>
    </dgm:pt>
    <dgm:pt modelId="{0829ED91-34DE-4AB4-A3F1-BC987BD44EFB}" type="pres">
      <dgm:prSet presAssocID="{6A08BBEE-F5F3-4238-A5B2-81D3C67343D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0346A6E-CB0E-489C-8602-EE0DAE8F2914}" type="pres">
      <dgm:prSet presAssocID="{B471317A-610F-4D08-AD68-2A23894440F4}" presName="node" presStyleLbl="node1" presStyleIdx="0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E10AAD-F8F2-42A4-9DF6-201DFA48B69E}" type="pres">
      <dgm:prSet presAssocID="{E736EBDA-1CC6-4559-93CF-A23ABAB1D78C}" presName="sibTrans" presStyleLbl="sibTrans2D1" presStyleIdx="0" presStyleCnt="9"/>
      <dgm:spPr/>
      <dgm:t>
        <a:bodyPr/>
        <a:lstStyle/>
        <a:p>
          <a:endParaRPr lang="en-US"/>
        </a:p>
      </dgm:t>
    </dgm:pt>
    <dgm:pt modelId="{B03018B6-A029-45E5-88A1-C583D90F35A3}" type="pres">
      <dgm:prSet presAssocID="{E736EBDA-1CC6-4559-93CF-A23ABAB1D78C}" presName="connectorText" presStyleLbl="sibTrans2D1" presStyleIdx="0" presStyleCnt="9"/>
      <dgm:spPr/>
      <dgm:t>
        <a:bodyPr/>
        <a:lstStyle/>
        <a:p>
          <a:endParaRPr lang="en-US"/>
        </a:p>
      </dgm:t>
    </dgm:pt>
    <dgm:pt modelId="{CAAF2F3E-EE50-4C70-AB39-B27DF9D05B58}" type="pres">
      <dgm:prSet presAssocID="{0A9B1E37-6C7B-4BA5-A15F-F38CA4BA90A2}" presName="node" presStyleLbl="node1" presStyleIdx="1" presStyleCnt="9" custScaleX="135358" custScaleY="1232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22C65E-4CAD-49FA-A7A9-FB54BF4661C8}" type="pres">
      <dgm:prSet presAssocID="{408374D8-0CBD-45D7-AC80-056A8ECDA505}" presName="sibTrans" presStyleLbl="sibTrans2D1" presStyleIdx="1" presStyleCnt="9"/>
      <dgm:spPr/>
      <dgm:t>
        <a:bodyPr/>
        <a:lstStyle/>
        <a:p>
          <a:endParaRPr lang="en-US"/>
        </a:p>
      </dgm:t>
    </dgm:pt>
    <dgm:pt modelId="{8F025FBB-BCD1-4FC9-9E25-4450C0A7403C}" type="pres">
      <dgm:prSet presAssocID="{408374D8-0CBD-45D7-AC80-056A8ECDA505}" presName="connectorText" presStyleLbl="sibTrans2D1" presStyleIdx="1" presStyleCnt="9"/>
      <dgm:spPr/>
      <dgm:t>
        <a:bodyPr/>
        <a:lstStyle/>
        <a:p>
          <a:endParaRPr lang="en-US"/>
        </a:p>
      </dgm:t>
    </dgm:pt>
    <dgm:pt modelId="{F5006DE9-E214-414A-A455-82F22BA8A91C}" type="pres">
      <dgm:prSet presAssocID="{52269DE6-8587-4814-87A1-7AB631528928}" presName="node" presStyleLbl="node1" presStyleIdx="2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D1DF03-71F5-4CAC-9C98-FD4806703354}" type="pres">
      <dgm:prSet presAssocID="{4CF6756E-64F8-43DD-9B11-2742E57875A0}" presName="sibTrans" presStyleLbl="sibTrans2D1" presStyleIdx="2" presStyleCnt="9"/>
      <dgm:spPr/>
      <dgm:t>
        <a:bodyPr/>
        <a:lstStyle/>
        <a:p>
          <a:endParaRPr lang="en-US"/>
        </a:p>
      </dgm:t>
    </dgm:pt>
    <dgm:pt modelId="{4B047D9F-E2C3-433F-917A-7474216FD90A}" type="pres">
      <dgm:prSet presAssocID="{4CF6756E-64F8-43DD-9B11-2742E57875A0}" presName="connectorText" presStyleLbl="sibTrans2D1" presStyleIdx="2" presStyleCnt="9"/>
      <dgm:spPr/>
      <dgm:t>
        <a:bodyPr/>
        <a:lstStyle/>
        <a:p>
          <a:endParaRPr lang="en-US"/>
        </a:p>
      </dgm:t>
    </dgm:pt>
    <dgm:pt modelId="{85840C64-201C-4430-AD61-57D23AD65F70}" type="pres">
      <dgm:prSet presAssocID="{05EBD626-FFE7-42E9-A339-A5285F7354F7}" presName="node" presStyleLbl="node1" presStyleIdx="3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7691AD-C2EA-4C93-939F-D304470831C0}" type="pres">
      <dgm:prSet presAssocID="{290C055D-236D-4BB9-907E-706363F9A04E}" presName="sibTrans" presStyleLbl="sibTrans2D1" presStyleIdx="3" presStyleCnt="9"/>
      <dgm:spPr/>
      <dgm:t>
        <a:bodyPr/>
        <a:lstStyle/>
        <a:p>
          <a:endParaRPr lang="en-US"/>
        </a:p>
      </dgm:t>
    </dgm:pt>
    <dgm:pt modelId="{AE64FD88-A49B-43E4-B7AD-F5792DE18A6C}" type="pres">
      <dgm:prSet presAssocID="{290C055D-236D-4BB9-907E-706363F9A04E}" presName="connectorText" presStyleLbl="sibTrans2D1" presStyleIdx="3" presStyleCnt="9"/>
      <dgm:spPr/>
      <dgm:t>
        <a:bodyPr/>
        <a:lstStyle/>
        <a:p>
          <a:endParaRPr lang="en-US"/>
        </a:p>
      </dgm:t>
    </dgm:pt>
    <dgm:pt modelId="{3E3F55A1-4709-45DC-84E1-287306168460}" type="pres">
      <dgm:prSet presAssocID="{C47A3F83-5EA1-4050-9846-CCDD342C91FD}" presName="node" presStyleLbl="node1" presStyleIdx="4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8268A0-6656-4602-A5DF-2D73C2137611}" type="pres">
      <dgm:prSet presAssocID="{77D0FD63-DEEF-4B38-B5CF-3FA7EC3597B8}" presName="sibTrans" presStyleLbl="sibTrans2D1" presStyleIdx="4" presStyleCnt="9"/>
      <dgm:spPr/>
      <dgm:t>
        <a:bodyPr/>
        <a:lstStyle/>
        <a:p>
          <a:endParaRPr lang="en-US"/>
        </a:p>
      </dgm:t>
    </dgm:pt>
    <dgm:pt modelId="{A13F874B-3F9E-46CA-A38F-780C1E29F498}" type="pres">
      <dgm:prSet presAssocID="{77D0FD63-DEEF-4B38-B5CF-3FA7EC3597B8}" presName="connectorText" presStyleLbl="sibTrans2D1" presStyleIdx="4" presStyleCnt="9"/>
      <dgm:spPr/>
      <dgm:t>
        <a:bodyPr/>
        <a:lstStyle/>
        <a:p>
          <a:endParaRPr lang="en-US"/>
        </a:p>
      </dgm:t>
    </dgm:pt>
    <dgm:pt modelId="{66CB741C-556D-481B-BC5C-F62940ECE6C5}" type="pres">
      <dgm:prSet presAssocID="{4EBC3B1F-79EB-4105-9E38-4B140797C2A5}" presName="node" presStyleLbl="node1" presStyleIdx="5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EBF63-5A1A-453A-9F33-F77F289E4C94}" type="pres">
      <dgm:prSet presAssocID="{9990EF1A-F7F6-4F87-A71F-551DBCC8100B}" presName="sibTrans" presStyleLbl="sibTrans2D1" presStyleIdx="5" presStyleCnt="9"/>
      <dgm:spPr/>
      <dgm:t>
        <a:bodyPr/>
        <a:lstStyle/>
        <a:p>
          <a:endParaRPr lang="en-US"/>
        </a:p>
      </dgm:t>
    </dgm:pt>
    <dgm:pt modelId="{952ABAF1-1DEB-4C25-A003-931207F97934}" type="pres">
      <dgm:prSet presAssocID="{9990EF1A-F7F6-4F87-A71F-551DBCC8100B}" presName="connectorText" presStyleLbl="sibTrans2D1" presStyleIdx="5" presStyleCnt="9"/>
      <dgm:spPr/>
      <dgm:t>
        <a:bodyPr/>
        <a:lstStyle/>
        <a:p>
          <a:endParaRPr lang="en-US"/>
        </a:p>
      </dgm:t>
    </dgm:pt>
    <dgm:pt modelId="{259D6535-4308-4DA1-9649-681BD99B2820}" type="pres">
      <dgm:prSet presAssocID="{51D5696E-4F4A-4A24-9E3E-FAED5C492A93}" presName="node" presStyleLbl="node1" presStyleIdx="6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15EE64-7F10-460F-A00E-2EEE2ACF12F3}" type="pres">
      <dgm:prSet presAssocID="{77653D17-B2FB-4C7A-973B-97CF8D013442}" presName="sibTrans" presStyleLbl="sibTrans2D1" presStyleIdx="6" presStyleCnt="9"/>
      <dgm:spPr/>
      <dgm:t>
        <a:bodyPr/>
        <a:lstStyle/>
        <a:p>
          <a:endParaRPr lang="en-US"/>
        </a:p>
      </dgm:t>
    </dgm:pt>
    <dgm:pt modelId="{8D44ABF0-C03F-41DC-864E-2CDE11EA3D15}" type="pres">
      <dgm:prSet presAssocID="{77653D17-B2FB-4C7A-973B-97CF8D013442}" presName="connectorText" presStyleLbl="sibTrans2D1" presStyleIdx="6" presStyleCnt="9"/>
      <dgm:spPr/>
      <dgm:t>
        <a:bodyPr/>
        <a:lstStyle/>
        <a:p>
          <a:endParaRPr lang="en-US"/>
        </a:p>
      </dgm:t>
    </dgm:pt>
    <dgm:pt modelId="{4A7F0722-8117-432D-AB48-88975436552C}" type="pres">
      <dgm:prSet presAssocID="{F9C5C152-1A96-43E1-B697-06879F2FB48F}" presName="node" presStyleLbl="node1" presStyleIdx="7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A29260-E813-44B2-B1A7-64EB368A6EFE}" type="pres">
      <dgm:prSet presAssocID="{A8B3DEA8-E8D8-41D4-AD31-36737F760D3B}" presName="sibTrans" presStyleLbl="sibTrans2D1" presStyleIdx="7" presStyleCnt="9"/>
      <dgm:spPr/>
      <dgm:t>
        <a:bodyPr/>
        <a:lstStyle/>
        <a:p>
          <a:endParaRPr lang="en-US"/>
        </a:p>
      </dgm:t>
    </dgm:pt>
    <dgm:pt modelId="{BFDE18E0-CA92-43BA-91D1-BD32C1CFDE27}" type="pres">
      <dgm:prSet presAssocID="{A8B3DEA8-E8D8-41D4-AD31-36737F760D3B}" presName="connectorText" presStyleLbl="sibTrans2D1" presStyleIdx="7" presStyleCnt="9"/>
      <dgm:spPr/>
      <dgm:t>
        <a:bodyPr/>
        <a:lstStyle/>
        <a:p>
          <a:endParaRPr lang="en-US"/>
        </a:p>
      </dgm:t>
    </dgm:pt>
    <dgm:pt modelId="{02188F83-897E-4D42-B34A-063A9C76187C}" type="pres">
      <dgm:prSet presAssocID="{83E3A09E-3825-4144-BFB6-64C3C2293AFD}" presName="node" presStyleLbl="node1" presStyleIdx="8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F75667-867F-43BE-BD0B-D336D2CB3C11}" type="pres">
      <dgm:prSet presAssocID="{DEEB4D12-F376-4E95-8FC3-07F3DA282A80}" presName="sibTrans" presStyleLbl="sibTrans2D1" presStyleIdx="8" presStyleCnt="9"/>
      <dgm:spPr/>
      <dgm:t>
        <a:bodyPr/>
        <a:lstStyle/>
        <a:p>
          <a:endParaRPr lang="en-US"/>
        </a:p>
      </dgm:t>
    </dgm:pt>
    <dgm:pt modelId="{546B9454-2432-4DDB-91C9-594922CE6213}" type="pres">
      <dgm:prSet presAssocID="{DEEB4D12-F376-4E95-8FC3-07F3DA282A80}" presName="connectorText" presStyleLbl="sibTrans2D1" presStyleIdx="8" presStyleCnt="9"/>
      <dgm:spPr/>
      <dgm:t>
        <a:bodyPr/>
        <a:lstStyle/>
        <a:p>
          <a:endParaRPr lang="en-US"/>
        </a:p>
      </dgm:t>
    </dgm:pt>
  </dgm:ptLst>
  <dgm:cxnLst>
    <dgm:cxn modelId="{256DD50F-158E-4B39-BFDD-71505EED8252}" type="presOf" srcId="{51D5696E-4F4A-4A24-9E3E-FAED5C492A93}" destId="{259D6535-4308-4DA1-9649-681BD99B2820}" srcOrd="0" destOrd="0" presId="urn:microsoft.com/office/officeart/2005/8/layout/cycle2"/>
    <dgm:cxn modelId="{3EC6EA5E-ADCE-44C9-9DD0-5DEAC09EF1E2}" type="presOf" srcId="{4CF6756E-64F8-43DD-9B11-2742E57875A0}" destId="{79D1DF03-71F5-4CAC-9C98-FD4806703354}" srcOrd="0" destOrd="0" presId="urn:microsoft.com/office/officeart/2005/8/layout/cycle2"/>
    <dgm:cxn modelId="{787CD846-DA97-4F28-81DE-95E518F3AE0F}" type="presOf" srcId="{A8B3DEA8-E8D8-41D4-AD31-36737F760D3B}" destId="{BFDE18E0-CA92-43BA-91D1-BD32C1CFDE27}" srcOrd="1" destOrd="0" presId="urn:microsoft.com/office/officeart/2005/8/layout/cycle2"/>
    <dgm:cxn modelId="{DD15FDB4-6DF2-4E0C-8D64-BBDA995EC547}" type="presOf" srcId="{52269DE6-8587-4814-87A1-7AB631528928}" destId="{F5006DE9-E214-414A-A455-82F22BA8A91C}" srcOrd="0" destOrd="0" presId="urn:microsoft.com/office/officeart/2005/8/layout/cycle2"/>
    <dgm:cxn modelId="{8C2F7F41-5742-44EF-9E81-740BED438F41}" type="presOf" srcId="{4CF6756E-64F8-43DD-9B11-2742E57875A0}" destId="{4B047D9F-E2C3-433F-917A-7474216FD90A}" srcOrd="1" destOrd="0" presId="urn:microsoft.com/office/officeart/2005/8/layout/cycle2"/>
    <dgm:cxn modelId="{BF9348ED-EC65-4112-9407-8D9D6180253F}" srcId="{6A08BBEE-F5F3-4238-A5B2-81D3C67343D1}" destId="{05EBD626-FFE7-42E9-A339-A5285F7354F7}" srcOrd="3" destOrd="0" parTransId="{D2E324EE-5E4B-4FAB-8446-D590A8BD96A3}" sibTransId="{290C055D-236D-4BB9-907E-706363F9A04E}"/>
    <dgm:cxn modelId="{48E3BD19-7AE7-44C5-BD4D-684E65F58F2D}" type="presOf" srcId="{DEEB4D12-F376-4E95-8FC3-07F3DA282A80}" destId="{546B9454-2432-4DDB-91C9-594922CE6213}" srcOrd="1" destOrd="0" presId="urn:microsoft.com/office/officeart/2005/8/layout/cycle2"/>
    <dgm:cxn modelId="{8C84B607-0988-4AC4-BBBA-82DDBB969234}" type="presOf" srcId="{77D0FD63-DEEF-4B38-B5CF-3FA7EC3597B8}" destId="{1A8268A0-6656-4602-A5DF-2D73C2137611}" srcOrd="0" destOrd="0" presId="urn:microsoft.com/office/officeart/2005/8/layout/cycle2"/>
    <dgm:cxn modelId="{62D6AA10-F73C-43EF-8F6A-652869B78CB7}" type="presOf" srcId="{DEEB4D12-F376-4E95-8FC3-07F3DA282A80}" destId="{21F75667-867F-43BE-BD0B-D336D2CB3C11}" srcOrd="0" destOrd="0" presId="urn:microsoft.com/office/officeart/2005/8/layout/cycle2"/>
    <dgm:cxn modelId="{30E74C18-E66C-4802-8871-36451FF95E05}" type="presOf" srcId="{05EBD626-FFE7-42E9-A339-A5285F7354F7}" destId="{85840C64-201C-4430-AD61-57D23AD65F70}" srcOrd="0" destOrd="0" presId="urn:microsoft.com/office/officeart/2005/8/layout/cycle2"/>
    <dgm:cxn modelId="{834EBDB7-06E0-4C62-AA71-113D58752CF8}" srcId="{6A08BBEE-F5F3-4238-A5B2-81D3C67343D1}" destId="{4EBC3B1F-79EB-4105-9E38-4B140797C2A5}" srcOrd="5" destOrd="0" parTransId="{046A953E-205E-4CC8-8E0D-A6C560FCBD16}" sibTransId="{9990EF1A-F7F6-4F87-A71F-551DBCC8100B}"/>
    <dgm:cxn modelId="{4A5F91DA-09FE-4940-93A6-2D9C60309CC0}" type="presOf" srcId="{9990EF1A-F7F6-4F87-A71F-551DBCC8100B}" destId="{952ABAF1-1DEB-4C25-A003-931207F97934}" srcOrd="1" destOrd="0" presId="urn:microsoft.com/office/officeart/2005/8/layout/cycle2"/>
    <dgm:cxn modelId="{7CFD4881-82B6-4F20-A0CA-73A8A7FDA32E}" type="presOf" srcId="{9990EF1A-F7F6-4F87-A71F-551DBCC8100B}" destId="{B4EEBF63-5A1A-453A-9F33-F77F289E4C94}" srcOrd="0" destOrd="0" presId="urn:microsoft.com/office/officeart/2005/8/layout/cycle2"/>
    <dgm:cxn modelId="{A92BF6B5-0331-4F7B-BFB8-86F90BEC1F3C}" type="presOf" srcId="{77653D17-B2FB-4C7A-973B-97CF8D013442}" destId="{8D44ABF0-C03F-41DC-864E-2CDE11EA3D15}" srcOrd="1" destOrd="0" presId="urn:microsoft.com/office/officeart/2005/8/layout/cycle2"/>
    <dgm:cxn modelId="{EC561FE7-A86D-4B9E-87F6-A9EF100E9406}" type="presOf" srcId="{E736EBDA-1CC6-4559-93CF-A23ABAB1D78C}" destId="{32E10AAD-F8F2-42A4-9DF6-201DFA48B69E}" srcOrd="0" destOrd="0" presId="urn:microsoft.com/office/officeart/2005/8/layout/cycle2"/>
    <dgm:cxn modelId="{BBA60FBC-BA2D-449A-93B4-FB03548FA8E5}" type="presOf" srcId="{408374D8-0CBD-45D7-AC80-056A8ECDA505}" destId="{8F025FBB-BCD1-4FC9-9E25-4450C0A7403C}" srcOrd="1" destOrd="0" presId="urn:microsoft.com/office/officeart/2005/8/layout/cycle2"/>
    <dgm:cxn modelId="{80ACC51D-8311-423E-94E0-6C607B5BFFA5}" srcId="{6A08BBEE-F5F3-4238-A5B2-81D3C67343D1}" destId="{B471317A-610F-4D08-AD68-2A23894440F4}" srcOrd="0" destOrd="0" parTransId="{50678D29-4847-4AB1-8789-9CCDA0DBE1B4}" sibTransId="{E736EBDA-1CC6-4559-93CF-A23ABAB1D78C}"/>
    <dgm:cxn modelId="{CE0CE976-6A0B-4F0F-A03B-283996CE50D0}" type="presOf" srcId="{290C055D-236D-4BB9-907E-706363F9A04E}" destId="{AE64FD88-A49B-43E4-B7AD-F5792DE18A6C}" srcOrd="1" destOrd="0" presId="urn:microsoft.com/office/officeart/2005/8/layout/cycle2"/>
    <dgm:cxn modelId="{D77DCA17-9259-4770-9BCE-88E1E4C0E15F}" type="presOf" srcId="{A8B3DEA8-E8D8-41D4-AD31-36737F760D3B}" destId="{6DA29260-E813-44B2-B1A7-64EB368A6EFE}" srcOrd="0" destOrd="0" presId="urn:microsoft.com/office/officeart/2005/8/layout/cycle2"/>
    <dgm:cxn modelId="{8253DD4E-839B-4B8E-9C92-134402A23FB7}" srcId="{6A08BBEE-F5F3-4238-A5B2-81D3C67343D1}" destId="{52269DE6-8587-4814-87A1-7AB631528928}" srcOrd="2" destOrd="0" parTransId="{18A77B50-F7A0-43DA-BF91-DE6ECEB667EA}" sibTransId="{4CF6756E-64F8-43DD-9B11-2742E57875A0}"/>
    <dgm:cxn modelId="{B03CFBA6-1653-47FD-ABB4-376579EB1EC7}" type="presOf" srcId="{290C055D-236D-4BB9-907E-706363F9A04E}" destId="{997691AD-C2EA-4C93-939F-D304470831C0}" srcOrd="0" destOrd="0" presId="urn:microsoft.com/office/officeart/2005/8/layout/cycle2"/>
    <dgm:cxn modelId="{520B3DA2-7EFF-4CAC-969D-8EC8A0D25CBC}" srcId="{6A08BBEE-F5F3-4238-A5B2-81D3C67343D1}" destId="{F9C5C152-1A96-43E1-B697-06879F2FB48F}" srcOrd="7" destOrd="0" parTransId="{BCE3986D-47D7-4EF4-918A-C0BB2F37309C}" sibTransId="{A8B3DEA8-E8D8-41D4-AD31-36737F760D3B}"/>
    <dgm:cxn modelId="{2D9E6A91-319F-469D-B841-B3091D70C5B4}" type="presOf" srcId="{4EBC3B1F-79EB-4105-9E38-4B140797C2A5}" destId="{66CB741C-556D-481B-BC5C-F62940ECE6C5}" srcOrd="0" destOrd="0" presId="urn:microsoft.com/office/officeart/2005/8/layout/cycle2"/>
    <dgm:cxn modelId="{0D77CE14-4D91-494F-8A87-0888F9898B49}" srcId="{6A08BBEE-F5F3-4238-A5B2-81D3C67343D1}" destId="{51D5696E-4F4A-4A24-9E3E-FAED5C492A93}" srcOrd="6" destOrd="0" parTransId="{1472C8F7-870A-4265-9D86-353B98EAEF97}" sibTransId="{77653D17-B2FB-4C7A-973B-97CF8D013442}"/>
    <dgm:cxn modelId="{21F1F28E-AFF4-41D5-B52F-1DFDFD4EE823}" type="presOf" srcId="{83E3A09E-3825-4144-BFB6-64C3C2293AFD}" destId="{02188F83-897E-4D42-B34A-063A9C76187C}" srcOrd="0" destOrd="0" presId="urn:microsoft.com/office/officeart/2005/8/layout/cycle2"/>
    <dgm:cxn modelId="{C931D4DB-F222-4978-911F-335004D2FAFA}" type="presOf" srcId="{408374D8-0CBD-45D7-AC80-056A8ECDA505}" destId="{4722C65E-4CAD-49FA-A7A9-FB54BF4661C8}" srcOrd="0" destOrd="0" presId="urn:microsoft.com/office/officeart/2005/8/layout/cycle2"/>
    <dgm:cxn modelId="{220AAD7E-DADF-4FEB-A316-485502043607}" type="presOf" srcId="{F9C5C152-1A96-43E1-B697-06879F2FB48F}" destId="{4A7F0722-8117-432D-AB48-88975436552C}" srcOrd="0" destOrd="0" presId="urn:microsoft.com/office/officeart/2005/8/layout/cycle2"/>
    <dgm:cxn modelId="{39FA9B7D-4C2D-49C5-9397-41E63D2E5557}" type="presOf" srcId="{C47A3F83-5EA1-4050-9846-CCDD342C91FD}" destId="{3E3F55A1-4709-45DC-84E1-287306168460}" srcOrd="0" destOrd="0" presId="urn:microsoft.com/office/officeart/2005/8/layout/cycle2"/>
    <dgm:cxn modelId="{A2FBA34E-9DBE-45A8-9315-AD6973236E04}" type="presOf" srcId="{0A9B1E37-6C7B-4BA5-A15F-F38CA4BA90A2}" destId="{CAAF2F3E-EE50-4C70-AB39-B27DF9D05B58}" srcOrd="0" destOrd="0" presId="urn:microsoft.com/office/officeart/2005/8/layout/cycle2"/>
    <dgm:cxn modelId="{67C48110-1477-4617-9150-902C32F24348}" type="presOf" srcId="{B471317A-610F-4D08-AD68-2A23894440F4}" destId="{30346A6E-CB0E-489C-8602-EE0DAE8F2914}" srcOrd="0" destOrd="0" presId="urn:microsoft.com/office/officeart/2005/8/layout/cycle2"/>
    <dgm:cxn modelId="{AC554B5A-5E21-4688-8B0A-EEAEE6CB7D52}" srcId="{6A08BBEE-F5F3-4238-A5B2-81D3C67343D1}" destId="{83E3A09E-3825-4144-BFB6-64C3C2293AFD}" srcOrd="8" destOrd="0" parTransId="{26EB77D4-C3F6-4E46-9DA2-B207CBCDBBB9}" sibTransId="{DEEB4D12-F376-4E95-8FC3-07F3DA282A80}"/>
    <dgm:cxn modelId="{F6120E2B-F8A1-4510-9AAB-DA21C73CE99B}" type="presOf" srcId="{E736EBDA-1CC6-4559-93CF-A23ABAB1D78C}" destId="{B03018B6-A029-45E5-88A1-C583D90F35A3}" srcOrd="1" destOrd="0" presId="urn:microsoft.com/office/officeart/2005/8/layout/cycle2"/>
    <dgm:cxn modelId="{1986DAC0-9D9B-484B-8B74-BADFCBFE4C71}" type="presOf" srcId="{77D0FD63-DEEF-4B38-B5CF-3FA7EC3597B8}" destId="{A13F874B-3F9E-46CA-A38F-780C1E29F498}" srcOrd="1" destOrd="0" presId="urn:microsoft.com/office/officeart/2005/8/layout/cycle2"/>
    <dgm:cxn modelId="{1334B3C4-C7FB-4D95-9B06-361FBAEC5D2D}" type="presOf" srcId="{77653D17-B2FB-4C7A-973B-97CF8D013442}" destId="{A915EE64-7F10-460F-A00E-2EEE2ACF12F3}" srcOrd="0" destOrd="0" presId="urn:microsoft.com/office/officeart/2005/8/layout/cycle2"/>
    <dgm:cxn modelId="{75C4EB7B-6905-425F-A9E4-517A3B91D49A}" srcId="{6A08BBEE-F5F3-4238-A5B2-81D3C67343D1}" destId="{C47A3F83-5EA1-4050-9846-CCDD342C91FD}" srcOrd="4" destOrd="0" parTransId="{185561BC-B2F3-445C-8BC2-5D7ABABDF94D}" sibTransId="{77D0FD63-DEEF-4B38-B5CF-3FA7EC3597B8}"/>
    <dgm:cxn modelId="{B9630149-C7A1-4A23-AC1E-05310894F01B}" srcId="{6A08BBEE-F5F3-4238-A5B2-81D3C67343D1}" destId="{0A9B1E37-6C7B-4BA5-A15F-F38CA4BA90A2}" srcOrd="1" destOrd="0" parTransId="{4C2D8F6E-1F95-44E8-ACC7-EA468EE0F59A}" sibTransId="{408374D8-0CBD-45D7-AC80-056A8ECDA505}"/>
    <dgm:cxn modelId="{B88999E4-946F-483C-B67E-8F2A70FA0977}" type="presOf" srcId="{6A08BBEE-F5F3-4238-A5B2-81D3C67343D1}" destId="{0829ED91-34DE-4AB4-A3F1-BC987BD44EFB}" srcOrd="0" destOrd="0" presId="urn:microsoft.com/office/officeart/2005/8/layout/cycle2"/>
    <dgm:cxn modelId="{4C60B1BB-6E7E-4F10-BA4C-A7A232CE0547}" type="presParOf" srcId="{0829ED91-34DE-4AB4-A3F1-BC987BD44EFB}" destId="{30346A6E-CB0E-489C-8602-EE0DAE8F2914}" srcOrd="0" destOrd="0" presId="urn:microsoft.com/office/officeart/2005/8/layout/cycle2"/>
    <dgm:cxn modelId="{0E644D0E-F702-4693-8EFA-A7AD3908A0ED}" type="presParOf" srcId="{0829ED91-34DE-4AB4-A3F1-BC987BD44EFB}" destId="{32E10AAD-F8F2-42A4-9DF6-201DFA48B69E}" srcOrd="1" destOrd="0" presId="urn:microsoft.com/office/officeart/2005/8/layout/cycle2"/>
    <dgm:cxn modelId="{7D243CE1-C571-4B50-9EC7-8113F748D535}" type="presParOf" srcId="{32E10AAD-F8F2-42A4-9DF6-201DFA48B69E}" destId="{B03018B6-A029-45E5-88A1-C583D90F35A3}" srcOrd="0" destOrd="0" presId="urn:microsoft.com/office/officeart/2005/8/layout/cycle2"/>
    <dgm:cxn modelId="{CAC35086-E1DA-4A24-9A31-C9B7A3B73AE7}" type="presParOf" srcId="{0829ED91-34DE-4AB4-A3F1-BC987BD44EFB}" destId="{CAAF2F3E-EE50-4C70-AB39-B27DF9D05B58}" srcOrd="2" destOrd="0" presId="urn:microsoft.com/office/officeart/2005/8/layout/cycle2"/>
    <dgm:cxn modelId="{4A126821-76F3-4EA9-BE49-5C32A1AEE4D1}" type="presParOf" srcId="{0829ED91-34DE-4AB4-A3F1-BC987BD44EFB}" destId="{4722C65E-4CAD-49FA-A7A9-FB54BF4661C8}" srcOrd="3" destOrd="0" presId="urn:microsoft.com/office/officeart/2005/8/layout/cycle2"/>
    <dgm:cxn modelId="{080AF45B-5112-40AF-A684-EDCBE475992F}" type="presParOf" srcId="{4722C65E-4CAD-49FA-A7A9-FB54BF4661C8}" destId="{8F025FBB-BCD1-4FC9-9E25-4450C0A7403C}" srcOrd="0" destOrd="0" presId="urn:microsoft.com/office/officeart/2005/8/layout/cycle2"/>
    <dgm:cxn modelId="{630D9E78-3ADE-4FEE-9523-289201EF55B6}" type="presParOf" srcId="{0829ED91-34DE-4AB4-A3F1-BC987BD44EFB}" destId="{F5006DE9-E214-414A-A455-82F22BA8A91C}" srcOrd="4" destOrd="0" presId="urn:microsoft.com/office/officeart/2005/8/layout/cycle2"/>
    <dgm:cxn modelId="{B681A8B0-F0A7-4C54-B655-4EBF9D02B1DE}" type="presParOf" srcId="{0829ED91-34DE-4AB4-A3F1-BC987BD44EFB}" destId="{79D1DF03-71F5-4CAC-9C98-FD4806703354}" srcOrd="5" destOrd="0" presId="urn:microsoft.com/office/officeart/2005/8/layout/cycle2"/>
    <dgm:cxn modelId="{B9043C0C-B07D-4995-89B1-9563D8687E12}" type="presParOf" srcId="{79D1DF03-71F5-4CAC-9C98-FD4806703354}" destId="{4B047D9F-E2C3-433F-917A-7474216FD90A}" srcOrd="0" destOrd="0" presId="urn:microsoft.com/office/officeart/2005/8/layout/cycle2"/>
    <dgm:cxn modelId="{4F5AAEE7-F6B6-498B-9EDE-1913D4F2DD3A}" type="presParOf" srcId="{0829ED91-34DE-4AB4-A3F1-BC987BD44EFB}" destId="{85840C64-201C-4430-AD61-57D23AD65F70}" srcOrd="6" destOrd="0" presId="urn:microsoft.com/office/officeart/2005/8/layout/cycle2"/>
    <dgm:cxn modelId="{293BD116-FD03-4A40-B019-18705EF445F7}" type="presParOf" srcId="{0829ED91-34DE-4AB4-A3F1-BC987BD44EFB}" destId="{997691AD-C2EA-4C93-939F-D304470831C0}" srcOrd="7" destOrd="0" presId="urn:microsoft.com/office/officeart/2005/8/layout/cycle2"/>
    <dgm:cxn modelId="{AD8DCA20-8BBC-42FE-B319-8B15E54E7556}" type="presParOf" srcId="{997691AD-C2EA-4C93-939F-D304470831C0}" destId="{AE64FD88-A49B-43E4-B7AD-F5792DE18A6C}" srcOrd="0" destOrd="0" presId="urn:microsoft.com/office/officeart/2005/8/layout/cycle2"/>
    <dgm:cxn modelId="{66026455-4810-453A-876E-D34B323B33E8}" type="presParOf" srcId="{0829ED91-34DE-4AB4-A3F1-BC987BD44EFB}" destId="{3E3F55A1-4709-45DC-84E1-287306168460}" srcOrd="8" destOrd="0" presId="urn:microsoft.com/office/officeart/2005/8/layout/cycle2"/>
    <dgm:cxn modelId="{11614221-AEF3-463C-A881-BC6BDBDA7C90}" type="presParOf" srcId="{0829ED91-34DE-4AB4-A3F1-BC987BD44EFB}" destId="{1A8268A0-6656-4602-A5DF-2D73C2137611}" srcOrd="9" destOrd="0" presId="urn:microsoft.com/office/officeart/2005/8/layout/cycle2"/>
    <dgm:cxn modelId="{F1DBCE8D-0B78-4BF9-8E3E-3DA7C179EB7F}" type="presParOf" srcId="{1A8268A0-6656-4602-A5DF-2D73C2137611}" destId="{A13F874B-3F9E-46CA-A38F-780C1E29F498}" srcOrd="0" destOrd="0" presId="urn:microsoft.com/office/officeart/2005/8/layout/cycle2"/>
    <dgm:cxn modelId="{B6A4CC28-4675-4BC6-AD32-1B1B7EB9A2FC}" type="presParOf" srcId="{0829ED91-34DE-4AB4-A3F1-BC987BD44EFB}" destId="{66CB741C-556D-481B-BC5C-F62940ECE6C5}" srcOrd="10" destOrd="0" presId="urn:microsoft.com/office/officeart/2005/8/layout/cycle2"/>
    <dgm:cxn modelId="{FFB2656A-190E-4245-8C95-01548B2750C9}" type="presParOf" srcId="{0829ED91-34DE-4AB4-A3F1-BC987BD44EFB}" destId="{B4EEBF63-5A1A-453A-9F33-F77F289E4C94}" srcOrd="11" destOrd="0" presId="urn:microsoft.com/office/officeart/2005/8/layout/cycle2"/>
    <dgm:cxn modelId="{F254F5E1-EDEC-4A14-B3C6-D2FF2C38F895}" type="presParOf" srcId="{B4EEBF63-5A1A-453A-9F33-F77F289E4C94}" destId="{952ABAF1-1DEB-4C25-A003-931207F97934}" srcOrd="0" destOrd="0" presId="urn:microsoft.com/office/officeart/2005/8/layout/cycle2"/>
    <dgm:cxn modelId="{ACF84266-10BC-4BFB-82FF-BCD7AD660551}" type="presParOf" srcId="{0829ED91-34DE-4AB4-A3F1-BC987BD44EFB}" destId="{259D6535-4308-4DA1-9649-681BD99B2820}" srcOrd="12" destOrd="0" presId="urn:microsoft.com/office/officeart/2005/8/layout/cycle2"/>
    <dgm:cxn modelId="{0A29275F-5A8C-4FB8-8D67-06900EE87B0C}" type="presParOf" srcId="{0829ED91-34DE-4AB4-A3F1-BC987BD44EFB}" destId="{A915EE64-7F10-460F-A00E-2EEE2ACF12F3}" srcOrd="13" destOrd="0" presId="urn:microsoft.com/office/officeart/2005/8/layout/cycle2"/>
    <dgm:cxn modelId="{333B40FD-1D3C-47A1-A914-412BB79623D1}" type="presParOf" srcId="{A915EE64-7F10-460F-A00E-2EEE2ACF12F3}" destId="{8D44ABF0-C03F-41DC-864E-2CDE11EA3D15}" srcOrd="0" destOrd="0" presId="urn:microsoft.com/office/officeart/2005/8/layout/cycle2"/>
    <dgm:cxn modelId="{9F7FA68C-2CB7-46EB-B994-FF43278458B2}" type="presParOf" srcId="{0829ED91-34DE-4AB4-A3F1-BC987BD44EFB}" destId="{4A7F0722-8117-432D-AB48-88975436552C}" srcOrd="14" destOrd="0" presId="urn:microsoft.com/office/officeart/2005/8/layout/cycle2"/>
    <dgm:cxn modelId="{58D51A13-59A8-471F-80A2-A646BC548F7A}" type="presParOf" srcId="{0829ED91-34DE-4AB4-A3F1-BC987BD44EFB}" destId="{6DA29260-E813-44B2-B1A7-64EB368A6EFE}" srcOrd="15" destOrd="0" presId="urn:microsoft.com/office/officeart/2005/8/layout/cycle2"/>
    <dgm:cxn modelId="{7CF94B41-AD0C-46E9-8FDF-E8FF23E819C0}" type="presParOf" srcId="{6DA29260-E813-44B2-B1A7-64EB368A6EFE}" destId="{BFDE18E0-CA92-43BA-91D1-BD32C1CFDE27}" srcOrd="0" destOrd="0" presId="urn:microsoft.com/office/officeart/2005/8/layout/cycle2"/>
    <dgm:cxn modelId="{45FD5932-EF8B-4CB9-9504-BE06752E1E41}" type="presParOf" srcId="{0829ED91-34DE-4AB4-A3F1-BC987BD44EFB}" destId="{02188F83-897E-4D42-B34A-063A9C76187C}" srcOrd="16" destOrd="0" presId="urn:microsoft.com/office/officeart/2005/8/layout/cycle2"/>
    <dgm:cxn modelId="{F7DBB9CB-451C-4856-9C9E-D0DFF1F483BC}" type="presParOf" srcId="{0829ED91-34DE-4AB4-A3F1-BC987BD44EFB}" destId="{21F75667-867F-43BE-BD0B-D336D2CB3C11}" srcOrd="17" destOrd="0" presId="urn:microsoft.com/office/officeart/2005/8/layout/cycle2"/>
    <dgm:cxn modelId="{1A4810CB-2BEF-48E7-A060-A40C6F637C9F}" type="presParOf" srcId="{21F75667-867F-43BE-BD0B-D336D2CB3C11}" destId="{546B9454-2432-4DDB-91C9-594922CE6213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08BBEE-F5F3-4238-A5B2-81D3C67343D1}" type="doc">
      <dgm:prSet loTypeId="urn:microsoft.com/office/officeart/2005/8/layout/cycle2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B471317A-610F-4D08-AD68-2A23894440F4}">
      <dgm:prSet phldrT="[Text]" custT="1"/>
      <dgm:spPr/>
      <dgm:t>
        <a:bodyPr/>
        <a:lstStyle/>
        <a:p>
          <a:r>
            <a:rPr lang="en-US" sz="1100" dirty="0" smtClean="0">
              <a:solidFill>
                <a:srgbClr val="FFFF00"/>
              </a:solidFill>
            </a:rPr>
            <a:t>Clearly state the goal</a:t>
          </a:r>
          <a:endParaRPr lang="en-US" sz="1100" dirty="0">
            <a:solidFill>
              <a:srgbClr val="FFFF00"/>
            </a:solidFill>
          </a:endParaRPr>
        </a:p>
      </dgm:t>
    </dgm:pt>
    <dgm:pt modelId="{50678D29-4847-4AB1-8789-9CCDA0DBE1B4}" type="parTrans" cxnId="{80ACC51D-8311-423E-94E0-6C607B5BFFA5}">
      <dgm:prSet/>
      <dgm:spPr/>
      <dgm:t>
        <a:bodyPr/>
        <a:lstStyle/>
        <a:p>
          <a:endParaRPr lang="en-US"/>
        </a:p>
      </dgm:t>
    </dgm:pt>
    <dgm:pt modelId="{E736EBDA-1CC6-4559-93CF-A23ABAB1D78C}" type="sibTrans" cxnId="{80ACC51D-8311-423E-94E0-6C607B5BFFA5}">
      <dgm:prSet/>
      <dgm:spPr/>
      <dgm:t>
        <a:bodyPr/>
        <a:lstStyle/>
        <a:p>
          <a:endParaRPr lang="en-US"/>
        </a:p>
      </dgm:t>
    </dgm:pt>
    <dgm:pt modelId="{0A9B1E37-6C7B-4BA5-A15F-F38CA4BA90A2}">
      <dgm:prSet phldrT="[Text]" custT="1"/>
      <dgm:spPr/>
      <dgm:t>
        <a:bodyPr/>
        <a:lstStyle/>
        <a:p>
          <a:r>
            <a:rPr lang="en-US" sz="1100" dirty="0" smtClean="0"/>
            <a:t>Identify risks to reaching the goal</a:t>
          </a:r>
          <a:endParaRPr lang="en-US" sz="1100" dirty="0"/>
        </a:p>
      </dgm:t>
    </dgm:pt>
    <dgm:pt modelId="{4C2D8F6E-1F95-44E8-ACC7-EA468EE0F59A}" type="parTrans" cxnId="{B9630149-C7A1-4A23-AC1E-05310894F01B}">
      <dgm:prSet/>
      <dgm:spPr/>
      <dgm:t>
        <a:bodyPr/>
        <a:lstStyle/>
        <a:p>
          <a:endParaRPr lang="en-US"/>
        </a:p>
      </dgm:t>
    </dgm:pt>
    <dgm:pt modelId="{408374D8-0CBD-45D7-AC80-056A8ECDA505}" type="sibTrans" cxnId="{B9630149-C7A1-4A23-AC1E-05310894F01B}">
      <dgm:prSet/>
      <dgm:spPr/>
      <dgm:t>
        <a:bodyPr/>
        <a:lstStyle/>
        <a:p>
          <a:endParaRPr lang="en-US"/>
        </a:p>
      </dgm:t>
    </dgm:pt>
    <dgm:pt modelId="{52269DE6-8587-4814-87A1-7AB631528928}">
      <dgm:prSet phldrT="[Text]" custT="1"/>
      <dgm:spPr/>
      <dgm:t>
        <a:bodyPr/>
        <a:lstStyle/>
        <a:p>
          <a:r>
            <a:rPr lang="en-US" sz="1100" dirty="0" smtClean="0"/>
            <a:t>Rank risks by likelihood and impact</a:t>
          </a:r>
          <a:endParaRPr lang="en-US" sz="1100" dirty="0"/>
        </a:p>
      </dgm:t>
    </dgm:pt>
    <dgm:pt modelId="{18A77B50-F7A0-43DA-BF91-DE6ECEB667EA}" type="parTrans" cxnId="{8253DD4E-839B-4B8E-9C92-134402A23FB7}">
      <dgm:prSet/>
      <dgm:spPr/>
      <dgm:t>
        <a:bodyPr/>
        <a:lstStyle/>
        <a:p>
          <a:endParaRPr lang="en-US"/>
        </a:p>
      </dgm:t>
    </dgm:pt>
    <dgm:pt modelId="{4CF6756E-64F8-43DD-9B11-2742E57875A0}" type="sibTrans" cxnId="{8253DD4E-839B-4B8E-9C92-134402A23FB7}">
      <dgm:prSet/>
      <dgm:spPr/>
      <dgm:t>
        <a:bodyPr/>
        <a:lstStyle/>
        <a:p>
          <a:endParaRPr lang="en-US"/>
        </a:p>
      </dgm:t>
    </dgm:pt>
    <dgm:pt modelId="{4EBC3B1F-79EB-4105-9E38-4B140797C2A5}">
      <dgm:prSet phldrT="[Text]" custT="1"/>
      <dgm:spPr/>
      <dgm:t>
        <a:bodyPr/>
        <a:lstStyle/>
        <a:p>
          <a:r>
            <a:rPr lang="en-US" sz="1100" dirty="0" smtClean="0"/>
            <a:t>Leadership review and approval</a:t>
          </a:r>
          <a:endParaRPr lang="en-US" sz="1100" dirty="0"/>
        </a:p>
      </dgm:t>
    </dgm:pt>
    <dgm:pt modelId="{046A953E-205E-4CC8-8E0D-A6C560FCBD16}" type="parTrans" cxnId="{834EBDB7-06E0-4C62-AA71-113D58752CF8}">
      <dgm:prSet/>
      <dgm:spPr/>
      <dgm:t>
        <a:bodyPr/>
        <a:lstStyle/>
        <a:p>
          <a:endParaRPr lang="en-US"/>
        </a:p>
      </dgm:t>
    </dgm:pt>
    <dgm:pt modelId="{9990EF1A-F7F6-4F87-A71F-551DBCC8100B}" type="sibTrans" cxnId="{834EBDB7-06E0-4C62-AA71-113D58752CF8}">
      <dgm:prSet/>
      <dgm:spPr/>
      <dgm:t>
        <a:bodyPr/>
        <a:lstStyle/>
        <a:p>
          <a:endParaRPr lang="en-US"/>
        </a:p>
      </dgm:t>
    </dgm:pt>
    <dgm:pt modelId="{83E3A09E-3825-4144-BFB6-64C3C2293AFD}">
      <dgm:prSet phldrT="[Text]" custT="1"/>
      <dgm:spPr/>
      <dgm:t>
        <a:bodyPr/>
        <a:lstStyle/>
        <a:p>
          <a:r>
            <a:rPr lang="en-US" sz="1100" dirty="0" smtClean="0"/>
            <a:t>Share</a:t>
          </a:r>
        </a:p>
        <a:p>
          <a:r>
            <a:rPr lang="en-US" sz="1100" dirty="0" smtClean="0"/>
            <a:t>results</a:t>
          </a:r>
          <a:endParaRPr lang="en-US" sz="1100" dirty="0"/>
        </a:p>
      </dgm:t>
    </dgm:pt>
    <dgm:pt modelId="{26EB77D4-C3F6-4E46-9DA2-B207CBCDBBB9}" type="parTrans" cxnId="{AC554B5A-5E21-4688-8B0A-EEAEE6CB7D52}">
      <dgm:prSet/>
      <dgm:spPr/>
      <dgm:t>
        <a:bodyPr/>
        <a:lstStyle/>
        <a:p>
          <a:endParaRPr lang="en-US"/>
        </a:p>
      </dgm:t>
    </dgm:pt>
    <dgm:pt modelId="{DEEB4D12-F376-4E95-8FC3-07F3DA282A80}" type="sibTrans" cxnId="{AC554B5A-5E21-4688-8B0A-EEAEE6CB7D52}">
      <dgm:prSet/>
      <dgm:spPr/>
      <dgm:t>
        <a:bodyPr/>
        <a:lstStyle/>
        <a:p>
          <a:endParaRPr lang="en-US"/>
        </a:p>
      </dgm:t>
    </dgm:pt>
    <dgm:pt modelId="{C47A3F83-5EA1-4050-9846-CCDD342C91FD}">
      <dgm:prSet custT="1"/>
      <dgm:spPr/>
      <dgm:t>
        <a:bodyPr/>
        <a:lstStyle/>
        <a:p>
          <a:r>
            <a:rPr lang="en-US" sz="1100" dirty="0" smtClean="0"/>
            <a:t>Develop Risk Register &amp; Treatment Plans</a:t>
          </a:r>
          <a:endParaRPr lang="en-US" sz="1100" dirty="0"/>
        </a:p>
      </dgm:t>
    </dgm:pt>
    <dgm:pt modelId="{185561BC-B2F3-445C-8BC2-5D7ABABDF94D}" type="parTrans" cxnId="{75C4EB7B-6905-425F-A9E4-517A3B91D49A}">
      <dgm:prSet/>
      <dgm:spPr/>
      <dgm:t>
        <a:bodyPr/>
        <a:lstStyle/>
        <a:p>
          <a:endParaRPr lang="en-US"/>
        </a:p>
      </dgm:t>
    </dgm:pt>
    <dgm:pt modelId="{77D0FD63-DEEF-4B38-B5CF-3FA7EC3597B8}" type="sibTrans" cxnId="{75C4EB7B-6905-425F-A9E4-517A3B91D49A}">
      <dgm:prSet/>
      <dgm:spPr/>
      <dgm:t>
        <a:bodyPr/>
        <a:lstStyle/>
        <a:p>
          <a:endParaRPr lang="en-US"/>
        </a:p>
      </dgm:t>
    </dgm:pt>
    <dgm:pt modelId="{05EBD626-FFE7-42E9-A339-A5285F7354F7}">
      <dgm:prSet custT="1"/>
      <dgm:spPr/>
      <dgm:t>
        <a:bodyPr/>
        <a:lstStyle/>
        <a:p>
          <a:r>
            <a:rPr lang="en-US" sz="1100" dirty="0" smtClean="0"/>
            <a:t>Prioritize the risks</a:t>
          </a:r>
          <a:endParaRPr lang="en-US" sz="1100" dirty="0"/>
        </a:p>
      </dgm:t>
    </dgm:pt>
    <dgm:pt modelId="{D2E324EE-5E4B-4FAB-8446-D590A8BD96A3}" type="parTrans" cxnId="{BF9348ED-EC65-4112-9407-8D9D6180253F}">
      <dgm:prSet/>
      <dgm:spPr/>
      <dgm:t>
        <a:bodyPr/>
        <a:lstStyle/>
        <a:p>
          <a:endParaRPr lang="en-US"/>
        </a:p>
      </dgm:t>
    </dgm:pt>
    <dgm:pt modelId="{290C055D-236D-4BB9-907E-706363F9A04E}" type="sibTrans" cxnId="{BF9348ED-EC65-4112-9407-8D9D6180253F}">
      <dgm:prSet/>
      <dgm:spPr/>
      <dgm:t>
        <a:bodyPr/>
        <a:lstStyle/>
        <a:p>
          <a:endParaRPr lang="en-US"/>
        </a:p>
      </dgm:t>
    </dgm:pt>
    <dgm:pt modelId="{F9C5C152-1A96-43E1-B697-06879F2FB48F}">
      <dgm:prSet custT="1"/>
      <dgm:spPr/>
      <dgm:t>
        <a:bodyPr/>
        <a:lstStyle/>
        <a:p>
          <a:r>
            <a:rPr lang="en-US" sz="1100" dirty="0" smtClean="0"/>
            <a:t>Measure success</a:t>
          </a:r>
          <a:endParaRPr lang="en-US" sz="1100" dirty="0"/>
        </a:p>
      </dgm:t>
    </dgm:pt>
    <dgm:pt modelId="{BCE3986D-47D7-4EF4-918A-C0BB2F37309C}" type="parTrans" cxnId="{520B3DA2-7EFF-4CAC-969D-8EC8A0D25CBC}">
      <dgm:prSet/>
      <dgm:spPr/>
      <dgm:t>
        <a:bodyPr/>
        <a:lstStyle/>
        <a:p>
          <a:endParaRPr lang="en-US"/>
        </a:p>
      </dgm:t>
    </dgm:pt>
    <dgm:pt modelId="{A8B3DEA8-E8D8-41D4-AD31-36737F760D3B}" type="sibTrans" cxnId="{520B3DA2-7EFF-4CAC-969D-8EC8A0D25CBC}">
      <dgm:prSet/>
      <dgm:spPr/>
      <dgm:t>
        <a:bodyPr/>
        <a:lstStyle/>
        <a:p>
          <a:endParaRPr lang="en-US"/>
        </a:p>
      </dgm:t>
    </dgm:pt>
    <dgm:pt modelId="{51D5696E-4F4A-4A24-9E3E-FAED5C492A93}">
      <dgm:prSet/>
      <dgm:spPr/>
      <dgm:t>
        <a:bodyPr/>
        <a:lstStyle/>
        <a:p>
          <a:r>
            <a:rPr lang="en-US" dirty="0" smtClean="0"/>
            <a:t>Implement Treatment Plans</a:t>
          </a:r>
          <a:endParaRPr lang="en-US" dirty="0"/>
        </a:p>
      </dgm:t>
    </dgm:pt>
    <dgm:pt modelId="{1472C8F7-870A-4265-9D86-353B98EAEF97}" type="parTrans" cxnId="{0D77CE14-4D91-494F-8A87-0888F9898B49}">
      <dgm:prSet/>
      <dgm:spPr/>
      <dgm:t>
        <a:bodyPr/>
        <a:lstStyle/>
        <a:p>
          <a:endParaRPr lang="en-US"/>
        </a:p>
      </dgm:t>
    </dgm:pt>
    <dgm:pt modelId="{77653D17-B2FB-4C7A-973B-97CF8D013442}" type="sibTrans" cxnId="{0D77CE14-4D91-494F-8A87-0888F9898B49}">
      <dgm:prSet/>
      <dgm:spPr/>
      <dgm:t>
        <a:bodyPr/>
        <a:lstStyle/>
        <a:p>
          <a:endParaRPr lang="en-US"/>
        </a:p>
      </dgm:t>
    </dgm:pt>
    <dgm:pt modelId="{0829ED91-34DE-4AB4-A3F1-BC987BD44EFB}" type="pres">
      <dgm:prSet presAssocID="{6A08BBEE-F5F3-4238-A5B2-81D3C67343D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0346A6E-CB0E-489C-8602-EE0DAE8F2914}" type="pres">
      <dgm:prSet presAssocID="{B471317A-610F-4D08-AD68-2A23894440F4}" presName="node" presStyleLbl="node1" presStyleIdx="0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E10AAD-F8F2-42A4-9DF6-201DFA48B69E}" type="pres">
      <dgm:prSet presAssocID="{E736EBDA-1CC6-4559-93CF-A23ABAB1D78C}" presName="sibTrans" presStyleLbl="sibTrans2D1" presStyleIdx="0" presStyleCnt="9"/>
      <dgm:spPr/>
      <dgm:t>
        <a:bodyPr/>
        <a:lstStyle/>
        <a:p>
          <a:endParaRPr lang="en-US"/>
        </a:p>
      </dgm:t>
    </dgm:pt>
    <dgm:pt modelId="{B03018B6-A029-45E5-88A1-C583D90F35A3}" type="pres">
      <dgm:prSet presAssocID="{E736EBDA-1CC6-4559-93CF-A23ABAB1D78C}" presName="connectorText" presStyleLbl="sibTrans2D1" presStyleIdx="0" presStyleCnt="9"/>
      <dgm:spPr/>
      <dgm:t>
        <a:bodyPr/>
        <a:lstStyle/>
        <a:p>
          <a:endParaRPr lang="en-US"/>
        </a:p>
      </dgm:t>
    </dgm:pt>
    <dgm:pt modelId="{CAAF2F3E-EE50-4C70-AB39-B27DF9D05B58}" type="pres">
      <dgm:prSet presAssocID="{0A9B1E37-6C7B-4BA5-A15F-F38CA4BA90A2}" presName="node" presStyleLbl="node1" presStyleIdx="1" presStyleCnt="9" custScaleX="135358" custScaleY="1232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22C65E-4CAD-49FA-A7A9-FB54BF4661C8}" type="pres">
      <dgm:prSet presAssocID="{408374D8-0CBD-45D7-AC80-056A8ECDA505}" presName="sibTrans" presStyleLbl="sibTrans2D1" presStyleIdx="1" presStyleCnt="9"/>
      <dgm:spPr/>
      <dgm:t>
        <a:bodyPr/>
        <a:lstStyle/>
        <a:p>
          <a:endParaRPr lang="en-US"/>
        </a:p>
      </dgm:t>
    </dgm:pt>
    <dgm:pt modelId="{8F025FBB-BCD1-4FC9-9E25-4450C0A7403C}" type="pres">
      <dgm:prSet presAssocID="{408374D8-0CBD-45D7-AC80-056A8ECDA505}" presName="connectorText" presStyleLbl="sibTrans2D1" presStyleIdx="1" presStyleCnt="9"/>
      <dgm:spPr/>
      <dgm:t>
        <a:bodyPr/>
        <a:lstStyle/>
        <a:p>
          <a:endParaRPr lang="en-US"/>
        </a:p>
      </dgm:t>
    </dgm:pt>
    <dgm:pt modelId="{F5006DE9-E214-414A-A455-82F22BA8A91C}" type="pres">
      <dgm:prSet presAssocID="{52269DE6-8587-4814-87A1-7AB631528928}" presName="node" presStyleLbl="node1" presStyleIdx="2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D1DF03-71F5-4CAC-9C98-FD4806703354}" type="pres">
      <dgm:prSet presAssocID="{4CF6756E-64F8-43DD-9B11-2742E57875A0}" presName="sibTrans" presStyleLbl="sibTrans2D1" presStyleIdx="2" presStyleCnt="9"/>
      <dgm:spPr/>
      <dgm:t>
        <a:bodyPr/>
        <a:lstStyle/>
        <a:p>
          <a:endParaRPr lang="en-US"/>
        </a:p>
      </dgm:t>
    </dgm:pt>
    <dgm:pt modelId="{4B047D9F-E2C3-433F-917A-7474216FD90A}" type="pres">
      <dgm:prSet presAssocID="{4CF6756E-64F8-43DD-9B11-2742E57875A0}" presName="connectorText" presStyleLbl="sibTrans2D1" presStyleIdx="2" presStyleCnt="9"/>
      <dgm:spPr/>
      <dgm:t>
        <a:bodyPr/>
        <a:lstStyle/>
        <a:p>
          <a:endParaRPr lang="en-US"/>
        </a:p>
      </dgm:t>
    </dgm:pt>
    <dgm:pt modelId="{85840C64-201C-4430-AD61-57D23AD65F70}" type="pres">
      <dgm:prSet presAssocID="{05EBD626-FFE7-42E9-A339-A5285F7354F7}" presName="node" presStyleLbl="node1" presStyleIdx="3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7691AD-C2EA-4C93-939F-D304470831C0}" type="pres">
      <dgm:prSet presAssocID="{290C055D-236D-4BB9-907E-706363F9A04E}" presName="sibTrans" presStyleLbl="sibTrans2D1" presStyleIdx="3" presStyleCnt="9"/>
      <dgm:spPr/>
      <dgm:t>
        <a:bodyPr/>
        <a:lstStyle/>
        <a:p>
          <a:endParaRPr lang="en-US"/>
        </a:p>
      </dgm:t>
    </dgm:pt>
    <dgm:pt modelId="{AE64FD88-A49B-43E4-B7AD-F5792DE18A6C}" type="pres">
      <dgm:prSet presAssocID="{290C055D-236D-4BB9-907E-706363F9A04E}" presName="connectorText" presStyleLbl="sibTrans2D1" presStyleIdx="3" presStyleCnt="9"/>
      <dgm:spPr/>
      <dgm:t>
        <a:bodyPr/>
        <a:lstStyle/>
        <a:p>
          <a:endParaRPr lang="en-US"/>
        </a:p>
      </dgm:t>
    </dgm:pt>
    <dgm:pt modelId="{3E3F55A1-4709-45DC-84E1-287306168460}" type="pres">
      <dgm:prSet presAssocID="{C47A3F83-5EA1-4050-9846-CCDD342C91FD}" presName="node" presStyleLbl="node1" presStyleIdx="4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8268A0-6656-4602-A5DF-2D73C2137611}" type="pres">
      <dgm:prSet presAssocID="{77D0FD63-DEEF-4B38-B5CF-3FA7EC3597B8}" presName="sibTrans" presStyleLbl="sibTrans2D1" presStyleIdx="4" presStyleCnt="9"/>
      <dgm:spPr/>
      <dgm:t>
        <a:bodyPr/>
        <a:lstStyle/>
        <a:p>
          <a:endParaRPr lang="en-US"/>
        </a:p>
      </dgm:t>
    </dgm:pt>
    <dgm:pt modelId="{A13F874B-3F9E-46CA-A38F-780C1E29F498}" type="pres">
      <dgm:prSet presAssocID="{77D0FD63-DEEF-4B38-B5CF-3FA7EC3597B8}" presName="connectorText" presStyleLbl="sibTrans2D1" presStyleIdx="4" presStyleCnt="9"/>
      <dgm:spPr/>
      <dgm:t>
        <a:bodyPr/>
        <a:lstStyle/>
        <a:p>
          <a:endParaRPr lang="en-US"/>
        </a:p>
      </dgm:t>
    </dgm:pt>
    <dgm:pt modelId="{66CB741C-556D-481B-BC5C-F62940ECE6C5}" type="pres">
      <dgm:prSet presAssocID="{4EBC3B1F-79EB-4105-9E38-4B140797C2A5}" presName="node" presStyleLbl="node1" presStyleIdx="5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EBF63-5A1A-453A-9F33-F77F289E4C94}" type="pres">
      <dgm:prSet presAssocID="{9990EF1A-F7F6-4F87-A71F-551DBCC8100B}" presName="sibTrans" presStyleLbl="sibTrans2D1" presStyleIdx="5" presStyleCnt="9"/>
      <dgm:spPr/>
      <dgm:t>
        <a:bodyPr/>
        <a:lstStyle/>
        <a:p>
          <a:endParaRPr lang="en-US"/>
        </a:p>
      </dgm:t>
    </dgm:pt>
    <dgm:pt modelId="{952ABAF1-1DEB-4C25-A003-931207F97934}" type="pres">
      <dgm:prSet presAssocID="{9990EF1A-F7F6-4F87-A71F-551DBCC8100B}" presName="connectorText" presStyleLbl="sibTrans2D1" presStyleIdx="5" presStyleCnt="9"/>
      <dgm:spPr/>
      <dgm:t>
        <a:bodyPr/>
        <a:lstStyle/>
        <a:p>
          <a:endParaRPr lang="en-US"/>
        </a:p>
      </dgm:t>
    </dgm:pt>
    <dgm:pt modelId="{259D6535-4308-4DA1-9649-681BD99B2820}" type="pres">
      <dgm:prSet presAssocID="{51D5696E-4F4A-4A24-9E3E-FAED5C492A93}" presName="node" presStyleLbl="node1" presStyleIdx="6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15EE64-7F10-460F-A00E-2EEE2ACF12F3}" type="pres">
      <dgm:prSet presAssocID="{77653D17-B2FB-4C7A-973B-97CF8D013442}" presName="sibTrans" presStyleLbl="sibTrans2D1" presStyleIdx="6" presStyleCnt="9"/>
      <dgm:spPr/>
      <dgm:t>
        <a:bodyPr/>
        <a:lstStyle/>
        <a:p>
          <a:endParaRPr lang="en-US"/>
        </a:p>
      </dgm:t>
    </dgm:pt>
    <dgm:pt modelId="{8D44ABF0-C03F-41DC-864E-2CDE11EA3D15}" type="pres">
      <dgm:prSet presAssocID="{77653D17-B2FB-4C7A-973B-97CF8D013442}" presName="connectorText" presStyleLbl="sibTrans2D1" presStyleIdx="6" presStyleCnt="9"/>
      <dgm:spPr/>
      <dgm:t>
        <a:bodyPr/>
        <a:lstStyle/>
        <a:p>
          <a:endParaRPr lang="en-US"/>
        </a:p>
      </dgm:t>
    </dgm:pt>
    <dgm:pt modelId="{4A7F0722-8117-432D-AB48-88975436552C}" type="pres">
      <dgm:prSet presAssocID="{F9C5C152-1A96-43E1-B697-06879F2FB48F}" presName="node" presStyleLbl="node1" presStyleIdx="7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A29260-E813-44B2-B1A7-64EB368A6EFE}" type="pres">
      <dgm:prSet presAssocID="{A8B3DEA8-E8D8-41D4-AD31-36737F760D3B}" presName="sibTrans" presStyleLbl="sibTrans2D1" presStyleIdx="7" presStyleCnt="9"/>
      <dgm:spPr/>
      <dgm:t>
        <a:bodyPr/>
        <a:lstStyle/>
        <a:p>
          <a:endParaRPr lang="en-US"/>
        </a:p>
      </dgm:t>
    </dgm:pt>
    <dgm:pt modelId="{BFDE18E0-CA92-43BA-91D1-BD32C1CFDE27}" type="pres">
      <dgm:prSet presAssocID="{A8B3DEA8-E8D8-41D4-AD31-36737F760D3B}" presName="connectorText" presStyleLbl="sibTrans2D1" presStyleIdx="7" presStyleCnt="9"/>
      <dgm:spPr/>
      <dgm:t>
        <a:bodyPr/>
        <a:lstStyle/>
        <a:p>
          <a:endParaRPr lang="en-US"/>
        </a:p>
      </dgm:t>
    </dgm:pt>
    <dgm:pt modelId="{02188F83-897E-4D42-B34A-063A9C76187C}" type="pres">
      <dgm:prSet presAssocID="{83E3A09E-3825-4144-BFB6-64C3C2293AFD}" presName="node" presStyleLbl="node1" presStyleIdx="8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F75667-867F-43BE-BD0B-D336D2CB3C11}" type="pres">
      <dgm:prSet presAssocID="{DEEB4D12-F376-4E95-8FC3-07F3DA282A80}" presName="sibTrans" presStyleLbl="sibTrans2D1" presStyleIdx="8" presStyleCnt="9"/>
      <dgm:spPr/>
      <dgm:t>
        <a:bodyPr/>
        <a:lstStyle/>
        <a:p>
          <a:endParaRPr lang="en-US"/>
        </a:p>
      </dgm:t>
    </dgm:pt>
    <dgm:pt modelId="{546B9454-2432-4DDB-91C9-594922CE6213}" type="pres">
      <dgm:prSet presAssocID="{DEEB4D12-F376-4E95-8FC3-07F3DA282A80}" presName="connectorText" presStyleLbl="sibTrans2D1" presStyleIdx="8" presStyleCnt="9"/>
      <dgm:spPr/>
      <dgm:t>
        <a:bodyPr/>
        <a:lstStyle/>
        <a:p>
          <a:endParaRPr lang="en-US"/>
        </a:p>
      </dgm:t>
    </dgm:pt>
  </dgm:ptLst>
  <dgm:cxnLst>
    <dgm:cxn modelId="{256DD50F-158E-4B39-BFDD-71505EED8252}" type="presOf" srcId="{51D5696E-4F4A-4A24-9E3E-FAED5C492A93}" destId="{259D6535-4308-4DA1-9649-681BD99B2820}" srcOrd="0" destOrd="0" presId="urn:microsoft.com/office/officeart/2005/8/layout/cycle2"/>
    <dgm:cxn modelId="{3EC6EA5E-ADCE-44C9-9DD0-5DEAC09EF1E2}" type="presOf" srcId="{4CF6756E-64F8-43DD-9B11-2742E57875A0}" destId="{79D1DF03-71F5-4CAC-9C98-FD4806703354}" srcOrd="0" destOrd="0" presId="urn:microsoft.com/office/officeart/2005/8/layout/cycle2"/>
    <dgm:cxn modelId="{787CD846-DA97-4F28-81DE-95E518F3AE0F}" type="presOf" srcId="{A8B3DEA8-E8D8-41D4-AD31-36737F760D3B}" destId="{BFDE18E0-CA92-43BA-91D1-BD32C1CFDE27}" srcOrd="1" destOrd="0" presId="urn:microsoft.com/office/officeart/2005/8/layout/cycle2"/>
    <dgm:cxn modelId="{DD15FDB4-6DF2-4E0C-8D64-BBDA995EC547}" type="presOf" srcId="{52269DE6-8587-4814-87A1-7AB631528928}" destId="{F5006DE9-E214-414A-A455-82F22BA8A91C}" srcOrd="0" destOrd="0" presId="urn:microsoft.com/office/officeart/2005/8/layout/cycle2"/>
    <dgm:cxn modelId="{8C2F7F41-5742-44EF-9E81-740BED438F41}" type="presOf" srcId="{4CF6756E-64F8-43DD-9B11-2742E57875A0}" destId="{4B047D9F-E2C3-433F-917A-7474216FD90A}" srcOrd="1" destOrd="0" presId="urn:microsoft.com/office/officeart/2005/8/layout/cycle2"/>
    <dgm:cxn modelId="{BF9348ED-EC65-4112-9407-8D9D6180253F}" srcId="{6A08BBEE-F5F3-4238-A5B2-81D3C67343D1}" destId="{05EBD626-FFE7-42E9-A339-A5285F7354F7}" srcOrd="3" destOrd="0" parTransId="{D2E324EE-5E4B-4FAB-8446-D590A8BD96A3}" sibTransId="{290C055D-236D-4BB9-907E-706363F9A04E}"/>
    <dgm:cxn modelId="{48E3BD19-7AE7-44C5-BD4D-684E65F58F2D}" type="presOf" srcId="{DEEB4D12-F376-4E95-8FC3-07F3DA282A80}" destId="{546B9454-2432-4DDB-91C9-594922CE6213}" srcOrd="1" destOrd="0" presId="urn:microsoft.com/office/officeart/2005/8/layout/cycle2"/>
    <dgm:cxn modelId="{8C84B607-0988-4AC4-BBBA-82DDBB969234}" type="presOf" srcId="{77D0FD63-DEEF-4B38-B5CF-3FA7EC3597B8}" destId="{1A8268A0-6656-4602-A5DF-2D73C2137611}" srcOrd="0" destOrd="0" presId="urn:microsoft.com/office/officeart/2005/8/layout/cycle2"/>
    <dgm:cxn modelId="{62D6AA10-F73C-43EF-8F6A-652869B78CB7}" type="presOf" srcId="{DEEB4D12-F376-4E95-8FC3-07F3DA282A80}" destId="{21F75667-867F-43BE-BD0B-D336D2CB3C11}" srcOrd="0" destOrd="0" presId="urn:microsoft.com/office/officeart/2005/8/layout/cycle2"/>
    <dgm:cxn modelId="{30E74C18-E66C-4802-8871-36451FF95E05}" type="presOf" srcId="{05EBD626-FFE7-42E9-A339-A5285F7354F7}" destId="{85840C64-201C-4430-AD61-57D23AD65F70}" srcOrd="0" destOrd="0" presId="urn:microsoft.com/office/officeart/2005/8/layout/cycle2"/>
    <dgm:cxn modelId="{834EBDB7-06E0-4C62-AA71-113D58752CF8}" srcId="{6A08BBEE-F5F3-4238-A5B2-81D3C67343D1}" destId="{4EBC3B1F-79EB-4105-9E38-4B140797C2A5}" srcOrd="5" destOrd="0" parTransId="{046A953E-205E-4CC8-8E0D-A6C560FCBD16}" sibTransId="{9990EF1A-F7F6-4F87-A71F-551DBCC8100B}"/>
    <dgm:cxn modelId="{4A5F91DA-09FE-4940-93A6-2D9C60309CC0}" type="presOf" srcId="{9990EF1A-F7F6-4F87-A71F-551DBCC8100B}" destId="{952ABAF1-1DEB-4C25-A003-931207F97934}" srcOrd="1" destOrd="0" presId="urn:microsoft.com/office/officeart/2005/8/layout/cycle2"/>
    <dgm:cxn modelId="{7CFD4881-82B6-4F20-A0CA-73A8A7FDA32E}" type="presOf" srcId="{9990EF1A-F7F6-4F87-A71F-551DBCC8100B}" destId="{B4EEBF63-5A1A-453A-9F33-F77F289E4C94}" srcOrd="0" destOrd="0" presId="urn:microsoft.com/office/officeart/2005/8/layout/cycle2"/>
    <dgm:cxn modelId="{A92BF6B5-0331-4F7B-BFB8-86F90BEC1F3C}" type="presOf" srcId="{77653D17-B2FB-4C7A-973B-97CF8D013442}" destId="{8D44ABF0-C03F-41DC-864E-2CDE11EA3D15}" srcOrd="1" destOrd="0" presId="urn:microsoft.com/office/officeart/2005/8/layout/cycle2"/>
    <dgm:cxn modelId="{EC561FE7-A86D-4B9E-87F6-A9EF100E9406}" type="presOf" srcId="{E736EBDA-1CC6-4559-93CF-A23ABAB1D78C}" destId="{32E10AAD-F8F2-42A4-9DF6-201DFA48B69E}" srcOrd="0" destOrd="0" presId="urn:microsoft.com/office/officeart/2005/8/layout/cycle2"/>
    <dgm:cxn modelId="{BBA60FBC-BA2D-449A-93B4-FB03548FA8E5}" type="presOf" srcId="{408374D8-0CBD-45D7-AC80-056A8ECDA505}" destId="{8F025FBB-BCD1-4FC9-9E25-4450C0A7403C}" srcOrd="1" destOrd="0" presId="urn:microsoft.com/office/officeart/2005/8/layout/cycle2"/>
    <dgm:cxn modelId="{80ACC51D-8311-423E-94E0-6C607B5BFFA5}" srcId="{6A08BBEE-F5F3-4238-A5B2-81D3C67343D1}" destId="{B471317A-610F-4D08-AD68-2A23894440F4}" srcOrd="0" destOrd="0" parTransId="{50678D29-4847-4AB1-8789-9CCDA0DBE1B4}" sibTransId="{E736EBDA-1CC6-4559-93CF-A23ABAB1D78C}"/>
    <dgm:cxn modelId="{CE0CE976-6A0B-4F0F-A03B-283996CE50D0}" type="presOf" srcId="{290C055D-236D-4BB9-907E-706363F9A04E}" destId="{AE64FD88-A49B-43E4-B7AD-F5792DE18A6C}" srcOrd="1" destOrd="0" presId="urn:microsoft.com/office/officeart/2005/8/layout/cycle2"/>
    <dgm:cxn modelId="{D77DCA17-9259-4770-9BCE-88E1E4C0E15F}" type="presOf" srcId="{A8B3DEA8-E8D8-41D4-AD31-36737F760D3B}" destId="{6DA29260-E813-44B2-B1A7-64EB368A6EFE}" srcOrd="0" destOrd="0" presId="urn:microsoft.com/office/officeart/2005/8/layout/cycle2"/>
    <dgm:cxn modelId="{8253DD4E-839B-4B8E-9C92-134402A23FB7}" srcId="{6A08BBEE-F5F3-4238-A5B2-81D3C67343D1}" destId="{52269DE6-8587-4814-87A1-7AB631528928}" srcOrd="2" destOrd="0" parTransId="{18A77B50-F7A0-43DA-BF91-DE6ECEB667EA}" sibTransId="{4CF6756E-64F8-43DD-9B11-2742E57875A0}"/>
    <dgm:cxn modelId="{B03CFBA6-1653-47FD-ABB4-376579EB1EC7}" type="presOf" srcId="{290C055D-236D-4BB9-907E-706363F9A04E}" destId="{997691AD-C2EA-4C93-939F-D304470831C0}" srcOrd="0" destOrd="0" presId="urn:microsoft.com/office/officeart/2005/8/layout/cycle2"/>
    <dgm:cxn modelId="{520B3DA2-7EFF-4CAC-969D-8EC8A0D25CBC}" srcId="{6A08BBEE-F5F3-4238-A5B2-81D3C67343D1}" destId="{F9C5C152-1A96-43E1-B697-06879F2FB48F}" srcOrd="7" destOrd="0" parTransId="{BCE3986D-47D7-4EF4-918A-C0BB2F37309C}" sibTransId="{A8B3DEA8-E8D8-41D4-AD31-36737F760D3B}"/>
    <dgm:cxn modelId="{2D9E6A91-319F-469D-B841-B3091D70C5B4}" type="presOf" srcId="{4EBC3B1F-79EB-4105-9E38-4B140797C2A5}" destId="{66CB741C-556D-481B-BC5C-F62940ECE6C5}" srcOrd="0" destOrd="0" presId="urn:microsoft.com/office/officeart/2005/8/layout/cycle2"/>
    <dgm:cxn modelId="{0D77CE14-4D91-494F-8A87-0888F9898B49}" srcId="{6A08BBEE-F5F3-4238-A5B2-81D3C67343D1}" destId="{51D5696E-4F4A-4A24-9E3E-FAED5C492A93}" srcOrd="6" destOrd="0" parTransId="{1472C8F7-870A-4265-9D86-353B98EAEF97}" sibTransId="{77653D17-B2FB-4C7A-973B-97CF8D013442}"/>
    <dgm:cxn modelId="{21F1F28E-AFF4-41D5-B52F-1DFDFD4EE823}" type="presOf" srcId="{83E3A09E-3825-4144-BFB6-64C3C2293AFD}" destId="{02188F83-897E-4D42-B34A-063A9C76187C}" srcOrd="0" destOrd="0" presId="urn:microsoft.com/office/officeart/2005/8/layout/cycle2"/>
    <dgm:cxn modelId="{C931D4DB-F222-4978-911F-335004D2FAFA}" type="presOf" srcId="{408374D8-0CBD-45D7-AC80-056A8ECDA505}" destId="{4722C65E-4CAD-49FA-A7A9-FB54BF4661C8}" srcOrd="0" destOrd="0" presId="urn:microsoft.com/office/officeart/2005/8/layout/cycle2"/>
    <dgm:cxn modelId="{220AAD7E-DADF-4FEB-A316-485502043607}" type="presOf" srcId="{F9C5C152-1A96-43E1-B697-06879F2FB48F}" destId="{4A7F0722-8117-432D-AB48-88975436552C}" srcOrd="0" destOrd="0" presId="urn:microsoft.com/office/officeart/2005/8/layout/cycle2"/>
    <dgm:cxn modelId="{39FA9B7D-4C2D-49C5-9397-41E63D2E5557}" type="presOf" srcId="{C47A3F83-5EA1-4050-9846-CCDD342C91FD}" destId="{3E3F55A1-4709-45DC-84E1-287306168460}" srcOrd="0" destOrd="0" presId="urn:microsoft.com/office/officeart/2005/8/layout/cycle2"/>
    <dgm:cxn modelId="{A2FBA34E-9DBE-45A8-9315-AD6973236E04}" type="presOf" srcId="{0A9B1E37-6C7B-4BA5-A15F-F38CA4BA90A2}" destId="{CAAF2F3E-EE50-4C70-AB39-B27DF9D05B58}" srcOrd="0" destOrd="0" presId="urn:microsoft.com/office/officeart/2005/8/layout/cycle2"/>
    <dgm:cxn modelId="{67C48110-1477-4617-9150-902C32F24348}" type="presOf" srcId="{B471317A-610F-4D08-AD68-2A23894440F4}" destId="{30346A6E-CB0E-489C-8602-EE0DAE8F2914}" srcOrd="0" destOrd="0" presId="urn:microsoft.com/office/officeart/2005/8/layout/cycle2"/>
    <dgm:cxn modelId="{AC554B5A-5E21-4688-8B0A-EEAEE6CB7D52}" srcId="{6A08BBEE-F5F3-4238-A5B2-81D3C67343D1}" destId="{83E3A09E-3825-4144-BFB6-64C3C2293AFD}" srcOrd="8" destOrd="0" parTransId="{26EB77D4-C3F6-4E46-9DA2-B207CBCDBBB9}" sibTransId="{DEEB4D12-F376-4E95-8FC3-07F3DA282A80}"/>
    <dgm:cxn modelId="{F6120E2B-F8A1-4510-9AAB-DA21C73CE99B}" type="presOf" srcId="{E736EBDA-1CC6-4559-93CF-A23ABAB1D78C}" destId="{B03018B6-A029-45E5-88A1-C583D90F35A3}" srcOrd="1" destOrd="0" presId="urn:microsoft.com/office/officeart/2005/8/layout/cycle2"/>
    <dgm:cxn modelId="{1986DAC0-9D9B-484B-8B74-BADFCBFE4C71}" type="presOf" srcId="{77D0FD63-DEEF-4B38-B5CF-3FA7EC3597B8}" destId="{A13F874B-3F9E-46CA-A38F-780C1E29F498}" srcOrd="1" destOrd="0" presId="urn:microsoft.com/office/officeart/2005/8/layout/cycle2"/>
    <dgm:cxn modelId="{1334B3C4-C7FB-4D95-9B06-361FBAEC5D2D}" type="presOf" srcId="{77653D17-B2FB-4C7A-973B-97CF8D013442}" destId="{A915EE64-7F10-460F-A00E-2EEE2ACF12F3}" srcOrd="0" destOrd="0" presId="urn:microsoft.com/office/officeart/2005/8/layout/cycle2"/>
    <dgm:cxn modelId="{75C4EB7B-6905-425F-A9E4-517A3B91D49A}" srcId="{6A08BBEE-F5F3-4238-A5B2-81D3C67343D1}" destId="{C47A3F83-5EA1-4050-9846-CCDD342C91FD}" srcOrd="4" destOrd="0" parTransId="{185561BC-B2F3-445C-8BC2-5D7ABABDF94D}" sibTransId="{77D0FD63-DEEF-4B38-B5CF-3FA7EC3597B8}"/>
    <dgm:cxn modelId="{B9630149-C7A1-4A23-AC1E-05310894F01B}" srcId="{6A08BBEE-F5F3-4238-A5B2-81D3C67343D1}" destId="{0A9B1E37-6C7B-4BA5-A15F-F38CA4BA90A2}" srcOrd="1" destOrd="0" parTransId="{4C2D8F6E-1F95-44E8-ACC7-EA468EE0F59A}" sibTransId="{408374D8-0CBD-45D7-AC80-056A8ECDA505}"/>
    <dgm:cxn modelId="{B88999E4-946F-483C-B67E-8F2A70FA0977}" type="presOf" srcId="{6A08BBEE-F5F3-4238-A5B2-81D3C67343D1}" destId="{0829ED91-34DE-4AB4-A3F1-BC987BD44EFB}" srcOrd="0" destOrd="0" presId="urn:microsoft.com/office/officeart/2005/8/layout/cycle2"/>
    <dgm:cxn modelId="{4C60B1BB-6E7E-4F10-BA4C-A7A232CE0547}" type="presParOf" srcId="{0829ED91-34DE-4AB4-A3F1-BC987BD44EFB}" destId="{30346A6E-CB0E-489C-8602-EE0DAE8F2914}" srcOrd="0" destOrd="0" presId="urn:microsoft.com/office/officeart/2005/8/layout/cycle2"/>
    <dgm:cxn modelId="{0E644D0E-F702-4693-8EFA-A7AD3908A0ED}" type="presParOf" srcId="{0829ED91-34DE-4AB4-A3F1-BC987BD44EFB}" destId="{32E10AAD-F8F2-42A4-9DF6-201DFA48B69E}" srcOrd="1" destOrd="0" presId="urn:microsoft.com/office/officeart/2005/8/layout/cycle2"/>
    <dgm:cxn modelId="{7D243CE1-C571-4B50-9EC7-8113F748D535}" type="presParOf" srcId="{32E10AAD-F8F2-42A4-9DF6-201DFA48B69E}" destId="{B03018B6-A029-45E5-88A1-C583D90F35A3}" srcOrd="0" destOrd="0" presId="urn:microsoft.com/office/officeart/2005/8/layout/cycle2"/>
    <dgm:cxn modelId="{CAC35086-E1DA-4A24-9A31-C9B7A3B73AE7}" type="presParOf" srcId="{0829ED91-34DE-4AB4-A3F1-BC987BD44EFB}" destId="{CAAF2F3E-EE50-4C70-AB39-B27DF9D05B58}" srcOrd="2" destOrd="0" presId="urn:microsoft.com/office/officeart/2005/8/layout/cycle2"/>
    <dgm:cxn modelId="{4A126821-76F3-4EA9-BE49-5C32A1AEE4D1}" type="presParOf" srcId="{0829ED91-34DE-4AB4-A3F1-BC987BD44EFB}" destId="{4722C65E-4CAD-49FA-A7A9-FB54BF4661C8}" srcOrd="3" destOrd="0" presId="urn:microsoft.com/office/officeart/2005/8/layout/cycle2"/>
    <dgm:cxn modelId="{080AF45B-5112-40AF-A684-EDCBE475992F}" type="presParOf" srcId="{4722C65E-4CAD-49FA-A7A9-FB54BF4661C8}" destId="{8F025FBB-BCD1-4FC9-9E25-4450C0A7403C}" srcOrd="0" destOrd="0" presId="urn:microsoft.com/office/officeart/2005/8/layout/cycle2"/>
    <dgm:cxn modelId="{630D9E78-3ADE-4FEE-9523-289201EF55B6}" type="presParOf" srcId="{0829ED91-34DE-4AB4-A3F1-BC987BD44EFB}" destId="{F5006DE9-E214-414A-A455-82F22BA8A91C}" srcOrd="4" destOrd="0" presId="urn:microsoft.com/office/officeart/2005/8/layout/cycle2"/>
    <dgm:cxn modelId="{B681A8B0-F0A7-4C54-B655-4EBF9D02B1DE}" type="presParOf" srcId="{0829ED91-34DE-4AB4-A3F1-BC987BD44EFB}" destId="{79D1DF03-71F5-4CAC-9C98-FD4806703354}" srcOrd="5" destOrd="0" presId="urn:microsoft.com/office/officeart/2005/8/layout/cycle2"/>
    <dgm:cxn modelId="{B9043C0C-B07D-4995-89B1-9563D8687E12}" type="presParOf" srcId="{79D1DF03-71F5-4CAC-9C98-FD4806703354}" destId="{4B047D9F-E2C3-433F-917A-7474216FD90A}" srcOrd="0" destOrd="0" presId="urn:microsoft.com/office/officeart/2005/8/layout/cycle2"/>
    <dgm:cxn modelId="{4F5AAEE7-F6B6-498B-9EDE-1913D4F2DD3A}" type="presParOf" srcId="{0829ED91-34DE-4AB4-A3F1-BC987BD44EFB}" destId="{85840C64-201C-4430-AD61-57D23AD65F70}" srcOrd="6" destOrd="0" presId="urn:microsoft.com/office/officeart/2005/8/layout/cycle2"/>
    <dgm:cxn modelId="{293BD116-FD03-4A40-B019-18705EF445F7}" type="presParOf" srcId="{0829ED91-34DE-4AB4-A3F1-BC987BD44EFB}" destId="{997691AD-C2EA-4C93-939F-D304470831C0}" srcOrd="7" destOrd="0" presId="urn:microsoft.com/office/officeart/2005/8/layout/cycle2"/>
    <dgm:cxn modelId="{AD8DCA20-8BBC-42FE-B319-8B15E54E7556}" type="presParOf" srcId="{997691AD-C2EA-4C93-939F-D304470831C0}" destId="{AE64FD88-A49B-43E4-B7AD-F5792DE18A6C}" srcOrd="0" destOrd="0" presId="urn:microsoft.com/office/officeart/2005/8/layout/cycle2"/>
    <dgm:cxn modelId="{66026455-4810-453A-876E-D34B323B33E8}" type="presParOf" srcId="{0829ED91-34DE-4AB4-A3F1-BC987BD44EFB}" destId="{3E3F55A1-4709-45DC-84E1-287306168460}" srcOrd="8" destOrd="0" presId="urn:microsoft.com/office/officeart/2005/8/layout/cycle2"/>
    <dgm:cxn modelId="{11614221-AEF3-463C-A881-BC6BDBDA7C90}" type="presParOf" srcId="{0829ED91-34DE-4AB4-A3F1-BC987BD44EFB}" destId="{1A8268A0-6656-4602-A5DF-2D73C2137611}" srcOrd="9" destOrd="0" presId="urn:microsoft.com/office/officeart/2005/8/layout/cycle2"/>
    <dgm:cxn modelId="{F1DBCE8D-0B78-4BF9-8E3E-3DA7C179EB7F}" type="presParOf" srcId="{1A8268A0-6656-4602-A5DF-2D73C2137611}" destId="{A13F874B-3F9E-46CA-A38F-780C1E29F498}" srcOrd="0" destOrd="0" presId="urn:microsoft.com/office/officeart/2005/8/layout/cycle2"/>
    <dgm:cxn modelId="{B6A4CC28-4675-4BC6-AD32-1B1B7EB9A2FC}" type="presParOf" srcId="{0829ED91-34DE-4AB4-A3F1-BC987BD44EFB}" destId="{66CB741C-556D-481B-BC5C-F62940ECE6C5}" srcOrd="10" destOrd="0" presId="urn:microsoft.com/office/officeart/2005/8/layout/cycle2"/>
    <dgm:cxn modelId="{FFB2656A-190E-4245-8C95-01548B2750C9}" type="presParOf" srcId="{0829ED91-34DE-4AB4-A3F1-BC987BD44EFB}" destId="{B4EEBF63-5A1A-453A-9F33-F77F289E4C94}" srcOrd="11" destOrd="0" presId="urn:microsoft.com/office/officeart/2005/8/layout/cycle2"/>
    <dgm:cxn modelId="{F254F5E1-EDEC-4A14-B3C6-D2FF2C38F895}" type="presParOf" srcId="{B4EEBF63-5A1A-453A-9F33-F77F289E4C94}" destId="{952ABAF1-1DEB-4C25-A003-931207F97934}" srcOrd="0" destOrd="0" presId="urn:microsoft.com/office/officeart/2005/8/layout/cycle2"/>
    <dgm:cxn modelId="{ACF84266-10BC-4BFB-82FF-BCD7AD660551}" type="presParOf" srcId="{0829ED91-34DE-4AB4-A3F1-BC987BD44EFB}" destId="{259D6535-4308-4DA1-9649-681BD99B2820}" srcOrd="12" destOrd="0" presId="urn:microsoft.com/office/officeart/2005/8/layout/cycle2"/>
    <dgm:cxn modelId="{0A29275F-5A8C-4FB8-8D67-06900EE87B0C}" type="presParOf" srcId="{0829ED91-34DE-4AB4-A3F1-BC987BD44EFB}" destId="{A915EE64-7F10-460F-A00E-2EEE2ACF12F3}" srcOrd="13" destOrd="0" presId="urn:microsoft.com/office/officeart/2005/8/layout/cycle2"/>
    <dgm:cxn modelId="{333B40FD-1D3C-47A1-A914-412BB79623D1}" type="presParOf" srcId="{A915EE64-7F10-460F-A00E-2EEE2ACF12F3}" destId="{8D44ABF0-C03F-41DC-864E-2CDE11EA3D15}" srcOrd="0" destOrd="0" presId="urn:microsoft.com/office/officeart/2005/8/layout/cycle2"/>
    <dgm:cxn modelId="{9F7FA68C-2CB7-46EB-B994-FF43278458B2}" type="presParOf" srcId="{0829ED91-34DE-4AB4-A3F1-BC987BD44EFB}" destId="{4A7F0722-8117-432D-AB48-88975436552C}" srcOrd="14" destOrd="0" presId="urn:microsoft.com/office/officeart/2005/8/layout/cycle2"/>
    <dgm:cxn modelId="{58D51A13-59A8-471F-80A2-A646BC548F7A}" type="presParOf" srcId="{0829ED91-34DE-4AB4-A3F1-BC987BD44EFB}" destId="{6DA29260-E813-44B2-B1A7-64EB368A6EFE}" srcOrd="15" destOrd="0" presId="urn:microsoft.com/office/officeart/2005/8/layout/cycle2"/>
    <dgm:cxn modelId="{7CF94B41-AD0C-46E9-8FDF-E8FF23E819C0}" type="presParOf" srcId="{6DA29260-E813-44B2-B1A7-64EB368A6EFE}" destId="{BFDE18E0-CA92-43BA-91D1-BD32C1CFDE27}" srcOrd="0" destOrd="0" presId="urn:microsoft.com/office/officeart/2005/8/layout/cycle2"/>
    <dgm:cxn modelId="{45FD5932-EF8B-4CB9-9504-BE06752E1E41}" type="presParOf" srcId="{0829ED91-34DE-4AB4-A3F1-BC987BD44EFB}" destId="{02188F83-897E-4D42-B34A-063A9C76187C}" srcOrd="16" destOrd="0" presId="urn:microsoft.com/office/officeart/2005/8/layout/cycle2"/>
    <dgm:cxn modelId="{F7DBB9CB-451C-4856-9C9E-D0DFF1F483BC}" type="presParOf" srcId="{0829ED91-34DE-4AB4-A3F1-BC987BD44EFB}" destId="{21F75667-867F-43BE-BD0B-D336D2CB3C11}" srcOrd="17" destOrd="0" presId="urn:microsoft.com/office/officeart/2005/8/layout/cycle2"/>
    <dgm:cxn modelId="{1A4810CB-2BEF-48E7-A060-A40C6F637C9F}" type="presParOf" srcId="{21F75667-867F-43BE-BD0B-D336D2CB3C11}" destId="{546B9454-2432-4DDB-91C9-594922CE6213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346A6E-CB0E-489C-8602-EE0DAE8F2914}">
      <dsp:nvSpPr>
        <dsp:cNvPr id="0" name=""/>
        <dsp:cNvSpPr/>
      </dsp:nvSpPr>
      <dsp:spPr>
        <a:xfrm>
          <a:off x="3918912" y="-85778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rgbClr val="FFFF00"/>
              </a:solidFill>
            </a:rPr>
            <a:t>Clearly state the goal</a:t>
          </a:r>
          <a:endParaRPr lang="en-US" sz="1100" kern="1200" dirty="0">
            <a:solidFill>
              <a:srgbClr val="FFFF00"/>
            </a:solidFill>
          </a:endParaRPr>
        </a:p>
      </dsp:txBody>
      <dsp:txXfrm>
        <a:off x="4070673" y="51835"/>
        <a:ext cx="732768" cy="664456"/>
      </dsp:txXfrm>
    </dsp:sp>
    <dsp:sp modelId="{32E10AAD-F8F2-42A4-9DF6-201DFA48B69E}">
      <dsp:nvSpPr>
        <dsp:cNvPr id="0" name=""/>
        <dsp:cNvSpPr/>
      </dsp:nvSpPr>
      <dsp:spPr>
        <a:xfrm rot="1200000">
          <a:off x="4941450" y="450673"/>
          <a:ext cx="6539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4942042" y="498868"/>
        <a:ext cx="45779" cy="154649"/>
      </dsp:txXfrm>
    </dsp:sp>
    <dsp:sp modelId="{CAAF2F3E-EE50-4C70-AB39-B27DF9D05B58}">
      <dsp:nvSpPr>
        <dsp:cNvPr id="0" name=""/>
        <dsp:cNvSpPr/>
      </dsp:nvSpPr>
      <dsp:spPr>
        <a:xfrm>
          <a:off x="4996956" y="305234"/>
          <a:ext cx="1033732" cy="941477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dentify risks to reaching the goal</a:t>
          </a:r>
          <a:endParaRPr lang="en-US" sz="1100" kern="1200" dirty="0"/>
        </a:p>
      </dsp:txBody>
      <dsp:txXfrm>
        <a:off x="5148343" y="443110"/>
        <a:ext cx="730958" cy="665725"/>
      </dsp:txXfrm>
    </dsp:sp>
    <dsp:sp modelId="{4722C65E-4CAD-49FA-A7A9-FB54BF4661C8}">
      <dsp:nvSpPr>
        <dsp:cNvPr id="0" name=""/>
        <dsp:cNvSpPr/>
      </dsp:nvSpPr>
      <dsp:spPr>
        <a:xfrm rot="3600000">
          <a:off x="5750233" y="1141083"/>
          <a:ext cx="97584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5757552" y="1179957"/>
        <a:ext cx="68309" cy="154649"/>
      </dsp:txXfrm>
    </dsp:sp>
    <dsp:sp modelId="{F5006DE9-E214-414A-A455-82F22BA8A91C}">
      <dsp:nvSpPr>
        <dsp:cNvPr id="0" name=""/>
        <dsp:cNvSpPr/>
      </dsp:nvSpPr>
      <dsp:spPr>
        <a:xfrm>
          <a:off x="55686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ank risks by likelihood and impact</a:t>
          </a:r>
          <a:endParaRPr lang="en-US" sz="1100" kern="1200" dirty="0"/>
        </a:p>
      </dsp:txBody>
      <dsp:txXfrm>
        <a:off x="5720373" y="1436097"/>
        <a:ext cx="732768" cy="664456"/>
      </dsp:txXfrm>
    </dsp:sp>
    <dsp:sp modelId="{79D1DF03-71F5-4CAC-9C98-FD4806703354}">
      <dsp:nvSpPr>
        <dsp:cNvPr id="0" name=""/>
        <dsp:cNvSpPr/>
      </dsp:nvSpPr>
      <dsp:spPr>
        <a:xfrm rot="6000000">
          <a:off x="5933829" y="2200672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952831" y="2236277"/>
        <a:ext cx="75557" cy="154649"/>
      </dsp:txXfrm>
    </dsp:sp>
    <dsp:sp modelId="{85840C64-201C-4430-AD61-57D23AD65F70}">
      <dsp:nvSpPr>
        <dsp:cNvPr id="0" name=""/>
        <dsp:cNvSpPr/>
      </dsp:nvSpPr>
      <dsp:spPr>
        <a:xfrm>
          <a:off x="5369634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rioritize the risks</a:t>
          </a:r>
          <a:endParaRPr lang="en-US" sz="1100" kern="1200" dirty="0"/>
        </a:p>
      </dsp:txBody>
      <dsp:txXfrm>
        <a:off x="5521395" y="2564558"/>
        <a:ext cx="732768" cy="664456"/>
      </dsp:txXfrm>
    </dsp:sp>
    <dsp:sp modelId="{997691AD-C2EA-4C93-939F-D304470831C0}">
      <dsp:nvSpPr>
        <dsp:cNvPr id="0" name=""/>
        <dsp:cNvSpPr/>
      </dsp:nvSpPr>
      <dsp:spPr>
        <a:xfrm rot="8400000">
          <a:off x="5410105" y="313471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431583" y="3178445"/>
        <a:ext cx="56753" cy="154649"/>
      </dsp:txXfrm>
    </dsp:sp>
    <dsp:sp modelId="{3E3F55A1-4709-45DC-84E1-287306168460}">
      <dsp:nvSpPr>
        <dsp:cNvPr id="0" name=""/>
        <dsp:cNvSpPr/>
      </dsp:nvSpPr>
      <dsp:spPr>
        <a:xfrm>
          <a:off x="449184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velop Risk Register &amp; Treatment Plans</a:t>
          </a:r>
          <a:endParaRPr lang="en-US" sz="1100" kern="1200" dirty="0"/>
        </a:p>
      </dsp:txBody>
      <dsp:txXfrm>
        <a:off x="4643608" y="3301109"/>
        <a:ext cx="732768" cy="664456"/>
      </dsp:txXfrm>
    </dsp:sp>
    <dsp:sp modelId="{1A8268A0-6656-4602-A5DF-2D73C2137611}">
      <dsp:nvSpPr>
        <dsp:cNvPr id="0" name=""/>
        <dsp:cNvSpPr/>
      </dsp:nvSpPr>
      <dsp:spPr>
        <a:xfrm rot="10800000">
          <a:off x="4409663" y="3504462"/>
          <a:ext cx="58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4427086" y="3556012"/>
        <a:ext cx="40653" cy="154649"/>
      </dsp:txXfrm>
    </dsp:sp>
    <dsp:sp modelId="{66CB741C-556D-481B-BC5C-F62940ECE6C5}">
      <dsp:nvSpPr>
        <dsp:cNvPr id="0" name=""/>
        <dsp:cNvSpPr/>
      </dsp:nvSpPr>
      <dsp:spPr>
        <a:xfrm>
          <a:off x="334597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eadership review and approval</a:t>
          </a:r>
          <a:endParaRPr lang="en-US" sz="1100" kern="1200" dirty="0"/>
        </a:p>
      </dsp:txBody>
      <dsp:txXfrm>
        <a:off x="3497738" y="3301109"/>
        <a:ext cx="732768" cy="664456"/>
      </dsp:txXfrm>
    </dsp:sp>
    <dsp:sp modelId="{B4EEBF63-5A1A-453A-9F33-F77F289E4C94}">
      <dsp:nvSpPr>
        <dsp:cNvPr id="0" name=""/>
        <dsp:cNvSpPr/>
      </dsp:nvSpPr>
      <dsp:spPr>
        <a:xfrm rot="13200000">
          <a:off x="3386449" y="313766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3407927" y="3197029"/>
        <a:ext cx="56753" cy="154649"/>
      </dsp:txXfrm>
    </dsp:sp>
    <dsp:sp modelId="{259D6535-4308-4DA1-9649-681BD99B2820}">
      <dsp:nvSpPr>
        <dsp:cNvPr id="0" name=""/>
        <dsp:cNvSpPr/>
      </dsp:nvSpPr>
      <dsp:spPr>
        <a:xfrm>
          <a:off x="2468190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Implement Treatment Plans</a:t>
          </a:r>
          <a:endParaRPr lang="en-US" sz="1200" kern="1200" dirty="0"/>
        </a:p>
      </dsp:txBody>
      <dsp:txXfrm>
        <a:off x="2619951" y="2564558"/>
        <a:ext cx="732768" cy="664456"/>
      </dsp:txXfrm>
    </dsp:sp>
    <dsp:sp modelId="{A915EE64-7F10-460F-A00E-2EEE2ACF12F3}">
      <dsp:nvSpPr>
        <dsp:cNvPr id="0" name=""/>
        <dsp:cNvSpPr/>
      </dsp:nvSpPr>
      <dsp:spPr>
        <a:xfrm rot="15600000">
          <a:off x="2833408" y="2206689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852410" y="2274184"/>
        <a:ext cx="75557" cy="154649"/>
      </dsp:txXfrm>
    </dsp:sp>
    <dsp:sp modelId="{4A7F0722-8117-432D-AB48-88975436552C}">
      <dsp:nvSpPr>
        <dsp:cNvPr id="0" name=""/>
        <dsp:cNvSpPr/>
      </dsp:nvSpPr>
      <dsp:spPr>
        <a:xfrm>
          <a:off x="22692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Measure success</a:t>
          </a:r>
          <a:endParaRPr lang="en-US" sz="1100" kern="1200" dirty="0"/>
        </a:p>
      </dsp:txBody>
      <dsp:txXfrm>
        <a:off x="2420973" y="1436097"/>
        <a:ext cx="732768" cy="664456"/>
      </dsp:txXfrm>
    </dsp:sp>
    <dsp:sp modelId="{6DA29260-E813-44B2-B1A7-64EB368A6EFE}">
      <dsp:nvSpPr>
        <dsp:cNvPr id="0" name=""/>
        <dsp:cNvSpPr/>
      </dsp:nvSpPr>
      <dsp:spPr>
        <a:xfrm rot="18000000">
          <a:off x="3023526" y="1145672"/>
          <a:ext cx="97829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030863" y="1209930"/>
        <a:ext cx="68480" cy="154649"/>
      </dsp:txXfrm>
    </dsp:sp>
    <dsp:sp modelId="{02188F83-897E-4D42-B34A-063A9C76187C}">
      <dsp:nvSpPr>
        <dsp:cNvPr id="0" name=""/>
        <dsp:cNvSpPr/>
      </dsp:nvSpPr>
      <dsp:spPr>
        <a:xfrm>
          <a:off x="2842147" y="306131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hare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esults</a:t>
          </a:r>
          <a:endParaRPr lang="en-US" sz="1100" kern="1200" dirty="0"/>
        </a:p>
      </dsp:txBody>
      <dsp:txXfrm>
        <a:off x="2993908" y="443744"/>
        <a:ext cx="732768" cy="664456"/>
      </dsp:txXfrm>
    </dsp:sp>
    <dsp:sp modelId="{21F75667-867F-43BE-BD0B-D336D2CB3C11}">
      <dsp:nvSpPr>
        <dsp:cNvPr id="0" name=""/>
        <dsp:cNvSpPr/>
      </dsp:nvSpPr>
      <dsp:spPr>
        <a:xfrm rot="20400000">
          <a:off x="3864503" y="451771"/>
          <a:ext cx="64892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865090" y="506650"/>
        <a:ext cx="45424" cy="1546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346A6E-CB0E-489C-8602-EE0DAE8F2914}">
      <dsp:nvSpPr>
        <dsp:cNvPr id="0" name=""/>
        <dsp:cNvSpPr/>
      </dsp:nvSpPr>
      <dsp:spPr>
        <a:xfrm>
          <a:off x="3918912" y="-85778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rgbClr val="FFFF00"/>
              </a:solidFill>
            </a:rPr>
            <a:t>Clearly state the goal</a:t>
          </a:r>
          <a:endParaRPr lang="en-US" sz="1100" kern="1200" dirty="0">
            <a:solidFill>
              <a:srgbClr val="FFFF00"/>
            </a:solidFill>
          </a:endParaRPr>
        </a:p>
      </dsp:txBody>
      <dsp:txXfrm>
        <a:off x="4070673" y="51835"/>
        <a:ext cx="732768" cy="664456"/>
      </dsp:txXfrm>
    </dsp:sp>
    <dsp:sp modelId="{32E10AAD-F8F2-42A4-9DF6-201DFA48B69E}">
      <dsp:nvSpPr>
        <dsp:cNvPr id="0" name=""/>
        <dsp:cNvSpPr/>
      </dsp:nvSpPr>
      <dsp:spPr>
        <a:xfrm rot="1200000">
          <a:off x="4941450" y="450673"/>
          <a:ext cx="6539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4942042" y="498868"/>
        <a:ext cx="45779" cy="154649"/>
      </dsp:txXfrm>
    </dsp:sp>
    <dsp:sp modelId="{CAAF2F3E-EE50-4C70-AB39-B27DF9D05B58}">
      <dsp:nvSpPr>
        <dsp:cNvPr id="0" name=""/>
        <dsp:cNvSpPr/>
      </dsp:nvSpPr>
      <dsp:spPr>
        <a:xfrm>
          <a:off x="4996956" y="305234"/>
          <a:ext cx="1033732" cy="941477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dentify risks to reaching the goal</a:t>
          </a:r>
          <a:endParaRPr lang="en-US" sz="1100" kern="1200" dirty="0"/>
        </a:p>
      </dsp:txBody>
      <dsp:txXfrm>
        <a:off x="5148343" y="443110"/>
        <a:ext cx="730958" cy="665725"/>
      </dsp:txXfrm>
    </dsp:sp>
    <dsp:sp modelId="{4722C65E-4CAD-49FA-A7A9-FB54BF4661C8}">
      <dsp:nvSpPr>
        <dsp:cNvPr id="0" name=""/>
        <dsp:cNvSpPr/>
      </dsp:nvSpPr>
      <dsp:spPr>
        <a:xfrm rot="3600000">
          <a:off x="5750233" y="1141083"/>
          <a:ext cx="97584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5757552" y="1179957"/>
        <a:ext cx="68309" cy="154649"/>
      </dsp:txXfrm>
    </dsp:sp>
    <dsp:sp modelId="{F5006DE9-E214-414A-A455-82F22BA8A91C}">
      <dsp:nvSpPr>
        <dsp:cNvPr id="0" name=""/>
        <dsp:cNvSpPr/>
      </dsp:nvSpPr>
      <dsp:spPr>
        <a:xfrm>
          <a:off x="55686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ank risks by likelihood and impact</a:t>
          </a:r>
          <a:endParaRPr lang="en-US" sz="1100" kern="1200" dirty="0"/>
        </a:p>
      </dsp:txBody>
      <dsp:txXfrm>
        <a:off x="5720373" y="1436097"/>
        <a:ext cx="732768" cy="664456"/>
      </dsp:txXfrm>
    </dsp:sp>
    <dsp:sp modelId="{79D1DF03-71F5-4CAC-9C98-FD4806703354}">
      <dsp:nvSpPr>
        <dsp:cNvPr id="0" name=""/>
        <dsp:cNvSpPr/>
      </dsp:nvSpPr>
      <dsp:spPr>
        <a:xfrm rot="6000000">
          <a:off x="5933829" y="2200672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952831" y="2236277"/>
        <a:ext cx="75557" cy="154649"/>
      </dsp:txXfrm>
    </dsp:sp>
    <dsp:sp modelId="{85840C64-201C-4430-AD61-57D23AD65F70}">
      <dsp:nvSpPr>
        <dsp:cNvPr id="0" name=""/>
        <dsp:cNvSpPr/>
      </dsp:nvSpPr>
      <dsp:spPr>
        <a:xfrm>
          <a:off x="5369634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rioritize the risks</a:t>
          </a:r>
          <a:endParaRPr lang="en-US" sz="1100" kern="1200" dirty="0"/>
        </a:p>
      </dsp:txBody>
      <dsp:txXfrm>
        <a:off x="5521395" y="2564558"/>
        <a:ext cx="732768" cy="664456"/>
      </dsp:txXfrm>
    </dsp:sp>
    <dsp:sp modelId="{997691AD-C2EA-4C93-939F-D304470831C0}">
      <dsp:nvSpPr>
        <dsp:cNvPr id="0" name=""/>
        <dsp:cNvSpPr/>
      </dsp:nvSpPr>
      <dsp:spPr>
        <a:xfrm rot="8400000">
          <a:off x="5410105" y="313471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431583" y="3178445"/>
        <a:ext cx="56753" cy="154649"/>
      </dsp:txXfrm>
    </dsp:sp>
    <dsp:sp modelId="{3E3F55A1-4709-45DC-84E1-287306168460}">
      <dsp:nvSpPr>
        <dsp:cNvPr id="0" name=""/>
        <dsp:cNvSpPr/>
      </dsp:nvSpPr>
      <dsp:spPr>
        <a:xfrm>
          <a:off x="449184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velop Risk Register &amp; Treatment Plans</a:t>
          </a:r>
          <a:endParaRPr lang="en-US" sz="1100" kern="1200" dirty="0"/>
        </a:p>
      </dsp:txBody>
      <dsp:txXfrm>
        <a:off x="4643608" y="3301109"/>
        <a:ext cx="732768" cy="664456"/>
      </dsp:txXfrm>
    </dsp:sp>
    <dsp:sp modelId="{1A8268A0-6656-4602-A5DF-2D73C2137611}">
      <dsp:nvSpPr>
        <dsp:cNvPr id="0" name=""/>
        <dsp:cNvSpPr/>
      </dsp:nvSpPr>
      <dsp:spPr>
        <a:xfrm rot="10800000">
          <a:off x="4409663" y="3504462"/>
          <a:ext cx="58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4427086" y="3556012"/>
        <a:ext cx="40653" cy="154649"/>
      </dsp:txXfrm>
    </dsp:sp>
    <dsp:sp modelId="{66CB741C-556D-481B-BC5C-F62940ECE6C5}">
      <dsp:nvSpPr>
        <dsp:cNvPr id="0" name=""/>
        <dsp:cNvSpPr/>
      </dsp:nvSpPr>
      <dsp:spPr>
        <a:xfrm>
          <a:off x="334597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eadership review and approval</a:t>
          </a:r>
          <a:endParaRPr lang="en-US" sz="1100" kern="1200" dirty="0"/>
        </a:p>
      </dsp:txBody>
      <dsp:txXfrm>
        <a:off x="3497738" y="3301109"/>
        <a:ext cx="732768" cy="664456"/>
      </dsp:txXfrm>
    </dsp:sp>
    <dsp:sp modelId="{B4EEBF63-5A1A-453A-9F33-F77F289E4C94}">
      <dsp:nvSpPr>
        <dsp:cNvPr id="0" name=""/>
        <dsp:cNvSpPr/>
      </dsp:nvSpPr>
      <dsp:spPr>
        <a:xfrm rot="13200000">
          <a:off x="3386449" y="313766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3407927" y="3197029"/>
        <a:ext cx="56753" cy="154649"/>
      </dsp:txXfrm>
    </dsp:sp>
    <dsp:sp modelId="{259D6535-4308-4DA1-9649-681BD99B2820}">
      <dsp:nvSpPr>
        <dsp:cNvPr id="0" name=""/>
        <dsp:cNvSpPr/>
      </dsp:nvSpPr>
      <dsp:spPr>
        <a:xfrm>
          <a:off x="2468190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Implement Treatment Plans</a:t>
          </a:r>
          <a:endParaRPr lang="en-US" sz="1200" kern="1200" dirty="0"/>
        </a:p>
      </dsp:txBody>
      <dsp:txXfrm>
        <a:off x="2619951" y="2564558"/>
        <a:ext cx="732768" cy="664456"/>
      </dsp:txXfrm>
    </dsp:sp>
    <dsp:sp modelId="{A915EE64-7F10-460F-A00E-2EEE2ACF12F3}">
      <dsp:nvSpPr>
        <dsp:cNvPr id="0" name=""/>
        <dsp:cNvSpPr/>
      </dsp:nvSpPr>
      <dsp:spPr>
        <a:xfrm rot="15600000">
          <a:off x="2833408" y="2206689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852410" y="2274184"/>
        <a:ext cx="75557" cy="154649"/>
      </dsp:txXfrm>
    </dsp:sp>
    <dsp:sp modelId="{4A7F0722-8117-432D-AB48-88975436552C}">
      <dsp:nvSpPr>
        <dsp:cNvPr id="0" name=""/>
        <dsp:cNvSpPr/>
      </dsp:nvSpPr>
      <dsp:spPr>
        <a:xfrm>
          <a:off x="22692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Measure success</a:t>
          </a:r>
          <a:endParaRPr lang="en-US" sz="1100" kern="1200" dirty="0"/>
        </a:p>
      </dsp:txBody>
      <dsp:txXfrm>
        <a:off x="2420973" y="1436097"/>
        <a:ext cx="732768" cy="664456"/>
      </dsp:txXfrm>
    </dsp:sp>
    <dsp:sp modelId="{6DA29260-E813-44B2-B1A7-64EB368A6EFE}">
      <dsp:nvSpPr>
        <dsp:cNvPr id="0" name=""/>
        <dsp:cNvSpPr/>
      </dsp:nvSpPr>
      <dsp:spPr>
        <a:xfrm rot="18000000">
          <a:off x="3023526" y="1145672"/>
          <a:ext cx="97829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030863" y="1209930"/>
        <a:ext cx="68480" cy="154649"/>
      </dsp:txXfrm>
    </dsp:sp>
    <dsp:sp modelId="{02188F83-897E-4D42-B34A-063A9C76187C}">
      <dsp:nvSpPr>
        <dsp:cNvPr id="0" name=""/>
        <dsp:cNvSpPr/>
      </dsp:nvSpPr>
      <dsp:spPr>
        <a:xfrm>
          <a:off x="2842147" y="306131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hare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esults</a:t>
          </a:r>
          <a:endParaRPr lang="en-US" sz="1100" kern="1200" dirty="0"/>
        </a:p>
      </dsp:txBody>
      <dsp:txXfrm>
        <a:off x="2993908" y="443744"/>
        <a:ext cx="732768" cy="664456"/>
      </dsp:txXfrm>
    </dsp:sp>
    <dsp:sp modelId="{21F75667-867F-43BE-BD0B-D336D2CB3C11}">
      <dsp:nvSpPr>
        <dsp:cNvPr id="0" name=""/>
        <dsp:cNvSpPr/>
      </dsp:nvSpPr>
      <dsp:spPr>
        <a:xfrm rot="20400000">
          <a:off x="3864503" y="451771"/>
          <a:ext cx="64892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865090" y="506650"/>
        <a:ext cx="45424" cy="1546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B938CB9-2115-4347-9CEF-E76EF139FC61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5B2D771-7A2C-7845-B553-064E815E23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8188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A8BE8F1-5CE0-C441-A400-3117B23289EF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E5F0AA6-5AA0-7549-A7F3-7D3338B3AB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6399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F0AA6-5AA0-7549-A7F3-7D3338B3AB1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515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758952"/>
            <a:ext cx="75438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455621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7B82D-5263-264A-9A59-9CFAB116D78D}" type="datetime1">
              <a:rPr lang="en-US" smtClean="0"/>
              <a:t>10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7790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8449C-1454-734A-8EF4-A6AC3575CB28}" type="datetime1">
              <a:rPr lang="en-US" smtClean="0"/>
              <a:t>10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892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2302"/>
            <a:ext cx="1971675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2302"/>
            <a:ext cx="5800725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6F2DA-45A7-5F41-A5B2-2743191025A9}" type="datetime1">
              <a:rPr lang="en-US" smtClean="0"/>
              <a:t>10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891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AE69DC-C936-324D-AA62-6613DEC7D49E}" type="datetime1">
              <a:rPr lang="en-US" smtClean="0"/>
              <a:t>10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221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E8D1-FE09-CD48-8BFC-2520235D8A79}" type="datetime1">
              <a:rPr lang="en-US" smtClean="0"/>
              <a:t>10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7727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5"/>
            <a:ext cx="3703320" cy="40233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5"/>
            <a:ext cx="370332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45566-A43A-D34C-8DCA-D86DC16A11A0}" type="datetime1">
              <a:rPr lang="en-US" smtClean="0"/>
              <a:t>10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4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5"/>
            <a:ext cx="370332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F3B9F-8D0A-934D-9269-AE6A47CBBF21}" type="datetime1">
              <a:rPr lang="en-US" smtClean="0"/>
              <a:t>10/1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870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A87C7-6174-4C47-A200-43248E9AFAA4}" type="datetime1">
              <a:rPr lang="en-US" smtClean="0"/>
              <a:t>10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749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E9AF02-E245-8143-926E-325A7F8DAB7F}" type="datetime1">
              <a:rPr lang="en-US" smtClean="0"/>
              <a:t>10/1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758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742C49B-FD4F-6745-8D5C-BB6D8A809AB6}" type="datetime1">
              <a:rPr lang="en-US" smtClean="0"/>
              <a:t>10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599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C49BA-6AE5-3A45-B25B-3FAE27363796}" type="datetime1">
              <a:rPr lang="en-US" smtClean="0"/>
              <a:t>10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34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400800"/>
            <a:ext cx="9144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9144001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845734"/>
            <a:ext cx="7543801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AB774DA-83D1-F241-A6E8-8EE9B04CF562}" type="datetime1">
              <a:rPr lang="en-US" smtClean="0"/>
              <a:t>10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737845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91508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3" name="think-cell Slide" r:id="rId16" imgW="240" imgH="240" progId="TCLayout.ActiveDocument.1">
                  <p:embed/>
                </p:oleObj>
              </mc:Choice>
              <mc:Fallback>
                <p:oleObj name="think-cell Slide" r:id="rId16" imgW="240" imgH="24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418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202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3177" y="-25399"/>
            <a:ext cx="9140824" cy="64003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382" y="5278681"/>
            <a:ext cx="1298170" cy="10214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55" y="5556738"/>
            <a:ext cx="747071" cy="7433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93174" y="6403554"/>
            <a:ext cx="7256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52771" y="233795"/>
            <a:ext cx="540269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300" dirty="0">
                <a:solidFill>
                  <a:schemeClr val="accent2"/>
                </a:solidFill>
              </a:rPr>
              <a:t>2021 Show Me Excellence Summit</a:t>
            </a:r>
          </a:p>
          <a:p>
            <a:pPr algn="r"/>
            <a:r>
              <a:rPr lang="en-US" sz="2300" dirty="0">
                <a:solidFill>
                  <a:schemeClr val="accent2"/>
                </a:solidFill>
              </a:rPr>
              <a:t>October 19, 202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00295" y="4580616"/>
            <a:ext cx="614658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solidFill>
                  <a:schemeClr val="accent2"/>
                </a:solidFill>
              </a:rPr>
              <a:t>ENTERPRISE RISK MANAGEMENT</a:t>
            </a:r>
          </a:p>
          <a:p>
            <a:pPr algn="ctr"/>
            <a:endParaRPr lang="en-US" sz="3600" dirty="0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E993D5-B26C-4BBA-9BA1-F5E2F503F0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4379" y="1696684"/>
            <a:ext cx="5852565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62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0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can help </a:t>
            </a:r>
            <a:r>
              <a:rPr lang="en-US" sz="3200" dirty="0" smtClean="0"/>
              <a:t>achieve strategic priorities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122469" y="1217071"/>
            <a:ext cx="8615132" cy="834892"/>
            <a:chOff x="66392" y="1265464"/>
            <a:chExt cx="8633169" cy="832282"/>
          </a:xfrm>
          <a:solidFill>
            <a:schemeClr val="bg1">
              <a:lumMod val="85000"/>
            </a:schemeClr>
          </a:solidFill>
        </p:grpSpPr>
        <p:sp>
          <p:nvSpPr>
            <p:cNvPr id="11" name="Rectangle 10"/>
            <p:cNvSpPr/>
            <p:nvPr/>
          </p:nvSpPr>
          <p:spPr>
            <a:xfrm>
              <a:off x="66392" y="1265464"/>
              <a:ext cx="1514018" cy="538843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SPIRATION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92040" y="1265464"/>
              <a:ext cx="7107521" cy="832282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e will accelerate change across the state government </a:t>
              </a:r>
            </a:p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ith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uperior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rvices and support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06140" y="2109390"/>
            <a:ext cx="1477736" cy="1103349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M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Strategic Priority/Goals Step 1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00204" y="2121804"/>
            <a:ext cx="1775864" cy="1090895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Deliver the right stuff at the right price and at the right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time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90375" y="2121804"/>
            <a:ext cx="1775864" cy="1090895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Us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ata and analytics to improve decision-making and transparenc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80370" y="2121804"/>
            <a:ext cx="1775864" cy="1090895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uild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the State of Missouri workforce for th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utur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974689" y="2121804"/>
            <a:ext cx="1772154" cy="1090895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artner to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innovate the way w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work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180370" y="4601837"/>
            <a:ext cx="1775864" cy="1710894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0188" indent="-230188"/>
            <a:endParaRPr lang="en-US" sz="9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10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6400" y="4601838"/>
            <a:ext cx="1477736" cy="13892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NITIATIV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Risk Treatment Plans Step 5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583876" y="4601837"/>
            <a:ext cx="1775864" cy="1704339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7013" lvl="0" indent="-227013"/>
            <a:r>
              <a:rPr lang="en-US" sz="9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90372" y="4601838"/>
            <a:ext cx="1775864" cy="1705762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979773" y="4601836"/>
            <a:ext cx="1749680" cy="1704341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10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22468" y="3289593"/>
            <a:ext cx="8606985" cy="1228509"/>
            <a:chOff x="89812" y="992644"/>
            <a:chExt cx="8625005" cy="1426277"/>
          </a:xfrm>
        </p:grpSpPr>
        <p:sp>
          <p:nvSpPr>
            <p:cNvPr id="24" name="Rectangle 23"/>
            <p:cNvSpPr/>
            <p:nvPr/>
          </p:nvSpPr>
          <p:spPr>
            <a:xfrm>
              <a:off x="89812" y="992644"/>
              <a:ext cx="1477736" cy="1426277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srgbClr val="FFFF00"/>
                  </a:solidFill>
                  <a:latin typeface="Calibri" panose="020F0502020204030204" pitchFamily="34" charset="0"/>
                </a:rPr>
                <a:t>Enterprise Risk Management</a:t>
              </a: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567548" y="992644"/>
              <a:ext cx="7147269" cy="1426277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Identify risks to achieving goal (ERM step 2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valuate each risk (ERM step 3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Map and prioritize risks based on severity and likelihood (ERM step 4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3860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1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1:  Clearly State the </a:t>
            </a:r>
            <a:r>
              <a:rPr lang="en-US" sz="3200" dirty="0" smtClean="0"/>
              <a:t>Goal</a:t>
            </a:r>
          </a:p>
          <a:p>
            <a:pPr algn="l"/>
            <a:r>
              <a:rPr lang="en-US" sz="3200" dirty="0"/>
              <a:t>	</a:t>
            </a:r>
            <a:r>
              <a:rPr lang="en-US" sz="2400" b="1" dirty="0" smtClean="0"/>
              <a:t>Strategic objective or different organizational goal</a:t>
            </a:r>
            <a:endParaRPr lang="en-US" sz="3200" b="1" dirty="0"/>
          </a:p>
          <a:p>
            <a:pPr algn="l"/>
            <a:r>
              <a:rPr lang="en-US" sz="3200" b="1" dirty="0" smtClean="0"/>
              <a:t>  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406244" y="5829613"/>
            <a:ext cx="4331514" cy="48477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30" b="1" dirty="0">
                <a:solidFill>
                  <a:schemeClr val="bg1"/>
                </a:solidFill>
                <a:latin typeface="Calibri" panose="020F0502020204030204" pitchFamily="34" charset="0"/>
              </a:rPr>
              <a:t>Strong leadership support is critical to success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93534" y="4936761"/>
            <a:ext cx="4784726" cy="9880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428" i="1" kern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00" y="1585922"/>
            <a:ext cx="7296539" cy="379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84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2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2:  List everything that could </a:t>
            </a:r>
            <a:r>
              <a:rPr lang="en-US" sz="3200" dirty="0" smtClean="0"/>
              <a:t>prevent</a:t>
            </a:r>
          </a:p>
          <a:p>
            <a:pPr algn="l"/>
            <a:r>
              <a:rPr lang="en-US" sz="3200" dirty="0" smtClean="0"/>
              <a:t>you </a:t>
            </a:r>
            <a:r>
              <a:rPr lang="en-US" sz="3200" dirty="0"/>
              <a:t>from meeting your goal (the risks)</a:t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93761"/>
              </p:ext>
            </p:extLst>
          </p:nvPr>
        </p:nvGraphicFramePr>
        <p:xfrm>
          <a:off x="220944" y="1340138"/>
          <a:ext cx="4544292" cy="3688080"/>
        </p:xfrm>
        <a:graphic>
          <a:graphicData uri="http://schemas.openxmlformats.org/drawingml/2006/table">
            <a:tbl>
              <a:tblPr firstRow="1" bandRow="1"/>
              <a:tblGrid>
                <a:gridCol w="2272146">
                  <a:extLst>
                    <a:ext uri="{9D8B030D-6E8A-4147-A177-3AD203B41FA5}">
                      <a16:colId xmlns:a16="http://schemas.microsoft.com/office/drawing/2014/main" val="384273159"/>
                    </a:ext>
                  </a:extLst>
                </a:gridCol>
                <a:gridCol w="2272146">
                  <a:extLst>
                    <a:ext uri="{9D8B030D-6E8A-4147-A177-3AD203B41FA5}">
                      <a16:colId xmlns:a16="http://schemas.microsoft.com/office/drawing/2014/main" val="3407285161"/>
                    </a:ext>
                  </a:extLst>
                </a:gridCol>
              </a:tblGrid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506169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 smtClean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441293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9261570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57220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7274626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542585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408947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147138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794783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4385064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9188561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27" y="2009309"/>
            <a:ext cx="7296912" cy="3282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309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3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3:  Evaluate each risk by ranking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likelihood </a:t>
            </a:r>
            <a:r>
              <a:rPr lang="en-US" sz="3200" dirty="0"/>
              <a:t>and </a:t>
            </a:r>
            <a:r>
              <a:rPr lang="en-US" sz="3200" dirty="0" smtClean="0"/>
              <a:t>impact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5" y="1848354"/>
            <a:ext cx="7296912" cy="358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4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4: Prioritize the </a:t>
            </a:r>
            <a:r>
              <a:rPr lang="en-US" sz="3200" dirty="0" smtClean="0"/>
              <a:t>risks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10745"/>
              </p:ext>
            </p:extLst>
          </p:nvPr>
        </p:nvGraphicFramePr>
        <p:xfrm>
          <a:off x="1024739" y="1142295"/>
          <a:ext cx="6807183" cy="5148227"/>
        </p:xfrm>
        <a:graphic>
          <a:graphicData uri="http://schemas.openxmlformats.org/drawingml/2006/table">
            <a:tbl>
              <a:tblPr firstRow="1" firstCol="1" bandRow="1"/>
              <a:tblGrid>
                <a:gridCol w="445077">
                  <a:extLst>
                    <a:ext uri="{9D8B030D-6E8A-4147-A177-3AD203B41FA5}">
                      <a16:colId xmlns:a16="http://schemas.microsoft.com/office/drawing/2014/main" val="1778128807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3490879980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1496899245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1554001091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3342830518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4043286235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3180970940"/>
                    </a:ext>
                  </a:extLst>
                </a:gridCol>
              </a:tblGrid>
              <a:tr h="508859">
                <a:tc rowSpan="6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cap="small" spc="100" dirty="0">
                          <a:effectLst/>
                          <a:latin typeface="Arial" panose="020B0604020202020204" pitchFamily="34" charset="0"/>
                          <a:ea typeface="MS Mincho"/>
                          <a:cs typeface="Times New Roman" panose="02020603050405020304" pitchFamily="18" charset="0"/>
                        </a:rPr>
                        <a:t>Risk Likelihood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vert="vert27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FAC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5–Almost Certain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Normally occurs at least annually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96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9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97931"/>
                  </a:ext>
                </a:extLst>
              </a:tr>
              <a:tr h="11866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4–Likely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Likely to occur in next 3 year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9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743214"/>
                  </a:ext>
                </a:extLst>
              </a:tr>
              <a:tr h="7764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3–Possible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May occur every 10 year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cess to Software is Limited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900" b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High</a:t>
                      </a: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 Number of Team Members Eligible to Retire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038918"/>
                  </a:ext>
                </a:extLst>
              </a:tr>
              <a:tr h="10580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2–Unlikely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Unlikely in foreseeable futur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Software Could Malfunction</a:t>
                      </a: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 or Produce Errors</a:t>
                      </a:r>
                      <a:b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</a:b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</a:b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Lack of Professional Development Through the Enterprise</a:t>
                      </a:r>
                      <a:r>
                        <a:rPr lang="en-US" sz="900" b="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ck of Mid Level Manager Trainin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554483"/>
                  </a:ext>
                </a:extLst>
              </a:tr>
              <a:tr h="5564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1–Rar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Has </a:t>
                      </a:r>
                      <a:r>
                        <a:rPr lang="en-US" sz="90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occurred, </a:t>
                      </a: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but is rar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042357"/>
                  </a:ext>
                </a:extLst>
              </a:tr>
              <a:tr h="6543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1–Insignifican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No measurable impact on the Departmen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2–Minor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will last only for days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3–Moderate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may last for week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4–Significan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may last for month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5–Critical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may last for years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356722"/>
                  </a:ext>
                </a:extLst>
              </a:tr>
              <a:tr h="194376">
                <a:tc gridSpan="7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cap="small" spc="100" dirty="0">
                          <a:effectLst/>
                          <a:latin typeface="Arial" panose="020B0604020202020204" pitchFamily="34" charset="0"/>
                          <a:ea typeface="MS Mincho"/>
                          <a:cs typeface="Times New Roman" panose="02020603050405020304" pitchFamily="18" charset="0"/>
                        </a:rPr>
                        <a:t>Organizational Impac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AC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943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5524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5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ERM can help achieve strategic priorities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122469" y="1217071"/>
            <a:ext cx="8615132" cy="834892"/>
            <a:chOff x="66392" y="1265464"/>
            <a:chExt cx="8633169" cy="832282"/>
          </a:xfrm>
          <a:solidFill>
            <a:schemeClr val="bg1">
              <a:lumMod val="85000"/>
            </a:schemeClr>
          </a:solidFill>
        </p:grpSpPr>
        <p:sp>
          <p:nvSpPr>
            <p:cNvPr id="11" name="Rectangle 10"/>
            <p:cNvSpPr/>
            <p:nvPr/>
          </p:nvSpPr>
          <p:spPr>
            <a:xfrm>
              <a:off x="66392" y="1265464"/>
              <a:ext cx="1514018" cy="538843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SPIRATION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92040" y="1265464"/>
              <a:ext cx="7107521" cy="832282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e will accelerate change across the state government </a:t>
              </a:r>
            </a:p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ith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uperior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rvices and support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06140" y="2109390"/>
            <a:ext cx="1477736" cy="1103349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M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Strategic Priority/Goals Step 1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00204" y="2121804"/>
            <a:ext cx="1775864" cy="1090895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Deliver the right stuff at the right price and at the right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time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90375" y="2121804"/>
            <a:ext cx="1775864" cy="1090895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Us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ata and analytics to improve decision-making and transparenc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80370" y="2121804"/>
            <a:ext cx="1775864" cy="1090895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uild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the State of Missouri workforce for th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utur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974689" y="2121804"/>
            <a:ext cx="1772154" cy="1090895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artner to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innovate the way w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work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180370" y="4601837"/>
            <a:ext cx="1775864" cy="1710894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30188"/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Implement statewide succession planning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6400" y="4601838"/>
            <a:ext cx="1477736" cy="13892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NITIATIV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Risk Treatment Plans Step 5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583876" y="4601837"/>
            <a:ext cx="1775864" cy="1704339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7013" lvl="0" indent="-227013"/>
            <a:r>
              <a:rPr lang="en-US" sz="9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90372" y="4601838"/>
            <a:ext cx="1775864" cy="1705762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979773" y="4601836"/>
            <a:ext cx="1749680" cy="1704341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10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22468" y="3289593"/>
            <a:ext cx="8606985" cy="1228509"/>
            <a:chOff x="89812" y="992644"/>
            <a:chExt cx="8625005" cy="1426277"/>
          </a:xfrm>
        </p:grpSpPr>
        <p:sp>
          <p:nvSpPr>
            <p:cNvPr id="24" name="Rectangle 23"/>
            <p:cNvSpPr/>
            <p:nvPr/>
          </p:nvSpPr>
          <p:spPr>
            <a:xfrm>
              <a:off x="89812" y="992644"/>
              <a:ext cx="1477736" cy="1426277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srgbClr val="FFFF00"/>
                  </a:solidFill>
                  <a:latin typeface="Calibri" panose="020F0502020204030204" pitchFamily="34" charset="0"/>
                </a:rPr>
                <a:t>Enterprise Risk Management</a:t>
              </a: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567548" y="992644"/>
              <a:ext cx="7147269" cy="1426277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Identify risks to achieving goal (ERM step 2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valuate each risk (ERM step 3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Map and prioritize risks based on severity and likelihood (ERM step 4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6695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16</a:t>
            </a:fld>
            <a:endParaRPr lang="en-US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9063" y="296176"/>
            <a:ext cx="8618537" cy="1127271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</a:t>
            </a:r>
            <a:r>
              <a:rPr lang="en-US" sz="3200" dirty="0" smtClean="0"/>
              <a:t>5:  </a:t>
            </a:r>
            <a:r>
              <a:rPr lang="en-US" sz="3200" dirty="0"/>
              <a:t>Treat/mitigate the </a:t>
            </a:r>
            <a:r>
              <a:rPr lang="en-US" sz="3200" dirty="0" smtClean="0"/>
              <a:t>risks</a:t>
            </a:r>
          </a:p>
          <a:p>
            <a:pPr algn="l"/>
            <a:r>
              <a:rPr lang="en-US" sz="3200" b="1" dirty="0"/>
              <a:t>	</a:t>
            </a:r>
            <a:r>
              <a:rPr lang="en-US" sz="2400" b="1" dirty="0" smtClean="0"/>
              <a:t>Risk treatment plans are action steps to address risks</a:t>
            </a:r>
            <a:endParaRPr lang="en-US" sz="32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l"/>
            <a:endParaRPr lang="en-US" sz="3200" b="1" dirty="0"/>
          </a:p>
          <a:p>
            <a:pPr algn="l"/>
            <a:r>
              <a:rPr lang="en-US" sz="3200" dirty="0" smtClean="0"/>
              <a:t/>
            </a:r>
            <a:br>
              <a:rPr lang="en-US" sz="3200" dirty="0" smtClean="0"/>
            </a:br>
            <a:endParaRPr lang="en-US" sz="32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5" y="2092758"/>
            <a:ext cx="7296912" cy="35751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</p:spTree>
    <p:extLst>
      <p:ext uri="{BB962C8B-B14F-4D97-AF65-F5344CB8AC3E}">
        <p14:creationId xmlns:p14="http://schemas.microsoft.com/office/powerpoint/2010/main" val="281128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17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19063" y="230188"/>
            <a:ext cx="8618537" cy="1070711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6</a:t>
            </a:r>
            <a:r>
              <a:rPr lang="en-US" sz="3200" dirty="0" smtClean="0"/>
              <a:t>:  Risk Register</a:t>
            </a:r>
          </a:p>
          <a:p>
            <a:pPr algn="l"/>
            <a:r>
              <a:rPr lang="en-US" sz="3200" b="1" dirty="0"/>
              <a:t>	</a:t>
            </a:r>
            <a:r>
              <a:rPr lang="en-US" sz="2400" b="1" dirty="0" smtClean="0"/>
              <a:t>Risk registers include treatment plans and measures of success</a:t>
            </a:r>
            <a:endParaRPr lang="en-US" sz="2400" b="1" dirty="0"/>
          </a:p>
          <a:p>
            <a:pPr algn="l"/>
            <a:r>
              <a:rPr lang="en-US" sz="3200" dirty="0"/>
              <a:t/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5" y="2143583"/>
            <a:ext cx="7296912" cy="355605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</p:spTree>
    <p:extLst>
      <p:ext uri="{BB962C8B-B14F-4D97-AF65-F5344CB8AC3E}">
        <p14:creationId xmlns:p14="http://schemas.microsoft.com/office/powerpoint/2010/main" val="176477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8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Step </a:t>
            </a:r>
            <a:r>
              <a:rPr lang="en-US" sz="3200" dirty="0"/>
              <a:t>7: Monitor &amp; </a:t>
            </a:r>
            <a:r>
              <a:rPr lang="en-US" sz="3200" dirty="0" smtClean="0"/>
              <a:t>Communicate</a:t>
            </a:r>
          </a:p>
          <a:p>
            <a:pPr algn="l"/>
            <a:r>
              <a:rPr lang="en-US" sz="2400" b="1" dirty="0"/>
              <a:t>	Risk </a:t>
            </a:r>
            <a:r>
              <a:rPr lang="en-US" sz="2400" b="1" dirty="0" smtClean="0"/>
              <a:t>owners regularly update leadership </a:t>
            </a:r>
            <a:r>
              <a:rPr lang="en-US" sz="2400" b="1" dirty="0"/>
              <a:t>team</a:t>
            </a:r>
            <a:endParaRPr lang="en-US" sz="2800" b="1" dirty="0">
              <a:cs typeface="Times New Roman" panose="02020603050405020304" pitchFamily="18" charset="0"/>
            </a:endParaRPr>
          </a:p>
          <a:p>
            <a:pPr algn="l"/>
            <a:endParaRPr lang="en-US" sz="24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4" y="2348099"/>
            <a:ext cx="7296912" cy="3320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578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9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template walk through</a:t>
            </a:r>
            <a:endParaRPr lang="en-US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cs typeface="Times New Roman" panose="02020603050405020304" pitchFamily="18" charset="0"/>
              </a:rPr>
              <a:t>OA Risk Management</a:t>
            </a:r>
          </a:p>
          <a:p>
            <a:endParaRPr lang="en-US" sz="2400" dirty="0">
              <a:cs typeface="Times New Roman" panose="02020603050405020304" pitchFamily="18" charset="0"/>
            </a:endParaRPr>
          </a:p>
          <a:p>
            <a:r>
              <a:rPr lang="en-US" sz="2400" dirty="0">
                <a:cs typeface="Times New Roman" panose="02020603050405020304" pitchFamily="18" charset="0"/>
              </a:rPr>
              <a:t>https://oa.mo.gov/general-services/risk-management</a:t>
            </a: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358943" y="1162726"/>
            <a:ext cx="5476941" cy="4417105"/>
          </a:xfrm>
          <a:prstGeom prst="rect">
            <a:avLst/>
          </a:prstGeom>
        </p:spPr>
        <p:txBody>
          <a:bodyPr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1963" marR="0" lvl="0" indent="-461963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28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Is risk management on your radar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  <a:cs typeface="Times New Roman" panose="02020603050405020304" pitchFamily="18" charset="0"/>
              </a:rPr>
              <a:t>Is risk management part of the dialogue with your executive teams</a:t>
            </a: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?</a:t>
            </a:r>
          </a:p>
          <a:p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Do you evaluate risks to achieving strategic goals when deciding initiatives? </a:t>
            </a:r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+mj-lt"/>
                <a:cs typeface="Times New Roman" panose="02020603050405020304" pitchFamily="18" charset="0"/>
              </a:rPr>
              <a:t>Do you have a team member(s) responsible for risk management in your agency</a:t>
            </a: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?</a:t>
            </a:r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074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0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6916219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Proactive risk management will help</a:t>
            </a:r>
          </a:p>
          <a:p>
            <a:pPr algn="l"/>
            <a:r>
              <a:rPr lang="en-US" sz="3200" dirty="0"/>
              <a:t>y</a:t>
            </a:r>
            <a:r>
              <a:rPr lang="en-US" sz="3200" dirty="0" smtClean="0"/>
              <a:t>ou achieve your goals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959067486"/>
              </p:ext>
            </p:extLst>
          </p:nvPr>
        </p:nvGraphicFramePr>
        <p:xfrm>
          <a:off x="-65313" y="1676223"/>
          <a:ext cx="8874116" cy="401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318588" y="3232437"/>
            <a:ext cx="21203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2960"/>
                </a:solidFill>
              </a:rPr>
              <a:t>Enterprise Risk Management Cycle</a:t>
            </a:r>
            <a:endParaRPr lang="en-US" sz="2400" b="1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891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1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Risk Management is here to help</a:t>
            </a:r>
            <a:endParaRPr lang="en-US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cs typeface="Times New Roman" panose="02020603050405020304" pitchFamily="18" charset="0"/>
            </a:endParaRP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358942" y="1679846"/>
            <a:ext cx="8219449" cy="4417105"/>
          </a:xfrm>
          <a:prstGeom prst="rect">
            <a:avLst/>
          </a:prstGeom>
        </p:spPr>
        <p:txBody>
          <a:bodyPr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ffice of Administration, Division of General Services </a:t>
            </a:r>
          </a:p>
          <a:p>
            <a:pPr marL="749300" marR="0" lvl="2" indent="-2921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indy Dixon,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rector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d Director, Operational Excellence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749300" marR="0" lvl="2" indent="-2921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Jacinda Thudium, Deputy Director 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d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tate Risk Manager</a:t>
            </a:r>
          </a:p>
          <a:p>
            <a:pPr marL="749300" marR="0" lvl="2" indent="-2921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rayson Imhoff, Safety &amp; Loss Control Specialist</a:t>
            </a:r>
          </a:p>
          <a:p>
            <a:pPr marL="457200" marR="0" lvl="2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749300" lvl="2" indent="-292100">
              <a:buClrTx/>
              <a:buFont typeface="Wingdings" panose="05000000000000000000" pitchFamily="2" charset="2"/>
              <a:buChar char="§"/>
              <a:defRPr/>
            </a:pPr>
            <a:r>
              <a:rPr 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</a:rPr>
              <a:t>https://oa.mo.gov/general-services/risk-management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</a:endParaRPr>
          </a:p>
          <a:p>
            <a:pPr marL="461963" marR="0" lvl="0" indent="-461963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5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2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/>
              <a:t>Session Survey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cs typeface="Times New Roman" panose="02020603050405020304" pitchFamily="18" charset="0"/>
            </a:endParaRPr>
          </a:p>
          <a:p>
            <a:r>
              <a:rPr lang="en-US" sz="2400" dirty="0" smtClean="0">
                <a:cs typeface="Times New Roman" panose="02020603050405020304" pitchFamily="18" charset="0"/>
              </a:rPr>
              <a:t> </a:t>
            </a:r>
            <a:endParaRPr lang="en-US" sz="2400" dirty="0">
              <a:cs typeface="Times New Roman" panose="02020603050405020304" pitchFamily="18" charset="0"/>
            </a:endParaRP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978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3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92195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Use Enterprise </a:t>
            </a:r>
            <a:r>
              <a:rPr lang="en-US" sz="3200" dirty="0"/>
              <a:t>R</a:t>
            </a:r>
            <a:r>
              <a:rPr lang="en-US" sz="3200" dirty="0" smtClean="0"/>
              <a:t>isk Management (ERM)</a:t>
            </a:r>
          </a:p>
          <a:p>
            <a:pPr algn="l"/>
            <a:r>
              <a:rPr lang="en-US" sz="3200" dirty="0" smtClean="0"/>
              <a:t>to achieve your strategic goal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9195" y="1460220"/>
            <a:ext cx="7049127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  <a:cs typeface="Times New Roman" panose="02020603050405020304" pitchFamily="18" charset="0"/>
              </a:rPr>
              <a:t>ERM is a Risk management framework designed to integrate risk management throughout the enterprise</a:t>
            </a:r>
            <a:endParaRPr lang="en-US" sz="2800" b="1" dirty="0" smtClean="0">
              <a:latin typeface="+mj-lt"/>
              <a:cs typeface="Times New Roman" panose="02020603050405020304" pitchFamily="18" charset="0"/>
            </a:endParaRP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oactive risk management starts with strategic goals</a:t>
            </a: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Identify and quantify risks</a:t>
            </a: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ioritize risks that have the biggest impact to the organization</a:t>
            </a: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Develop treatment plans to address risks</a:t>
            </a: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752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4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Traditional risk management versus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Enterprise </a:t>
            </a:r>
            <a:r>
              <a:rPr lang="en-US" sz="3200" dirty="0"/>
              <a:t>Risk Management</a:t>
            </a: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69803" y="4801318"/>
            <a:ext cx="28884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291226" y="3492530"/>
            <a:ext cx="5468551" cy="1844962"/>
            <a:chOff x="243246" y="1744568"/>
            <a:chExt cx="8320806" cy="2056839"/>
          </a:xfrm>
        </p:grpSpPr>
        <p:sp>
          <p:nvSpPr>
            <p:cNvPr id="27" name="TextBox 26"/>
            <p:cNvSpPr txBox="1"/>
            <p:nvPr/>
          </p:nvSpPr>
          <p:spPr>
            <a:xfrm>
              <a:off x="5363652" y="1744568"/>
              <a:ext cx="3200400" cy="377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43246" y="3423973"/>
              <a:ext cx="3200400" cy="377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endParaRPr>
            </a:p>
          </p:txBody>
        </p:sp>
      </p:grpSp>
      <p:sp>
        <p:nvSpPr>
          <p:cNvPr id="37" name="Text Placeholder 9"/>
          <p:cNvSpPr txBox="1">
            <a:spLocks/>
          </p:cNvSpPr>
          <p:nvPr/>
        </p:nvSpPr>
        <p:spPr>
          <a:xfrm>
            <a:off x="147899" y="2127690"/>
            <a:ext cx="2043808" cy="703664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</a:pPr>
            <a:r>
              <a:rPr lang="en-US" sz="2400" b="1" dirty="0" smtClean="0">
                <a:solidFill>
                  <a:schemeClr val="tx1"/>
                </a:solidFill>
                <a:latin typeface="+mj-lt"/>
              </a:rPr>
              <a:t>Traditional Definition</a:t>
            </a:r>
          </a:p>
          <a:p>
            <a:pPr marL="0" indent="0" algn="ctr">
              <a:spcBef>
                <a:spcPts val="0"/>
              </a:spcBef>
            </a:pPr>
            <a:r>
              <a:rPr lang="en-US" sz="2400" b="1" dirty="0" smtClean="0">
                <a:solidFill>
                  <a:schemeClr val="tx1"/>
                </a:solidFill>
                <a:latin typeface="+mj-lt"/>
              </a:rPr>
              <a:t>of Risk</a:t>
            </a:r>
            <a:endParaRPr lang="en-US" sz="24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Text Placeholder 9"/>
          <p:cNvSpPr txBox="1">
            <a:spLocks/>
          </p:cNvSpPr>
          <p:nvPr/>
        </p:nvSpPr>
        <p:spPr>
          <a:xfrm>
            <a:off x="2800974" y="2162148"/>
            <a:ext cx="2858353" cy="690801"/>
          </a:xfrm>
          <a:prstGeom prst="rect">
            <a:avLst/>
          </a:prstGeom>
        </p:spPr>
        <p:txBody>
          <a:bodyPr vert="horz" lIns="0" tIns="34290" rIns="0" bIns="3429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1800" kern="1200">
                <a:solidFill>
                  <a:srgbClr val="EA7600"/>
                </a:solidFill>
                <a:latin typeface="+mj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tx1"/>
                </a:solidFill>
              </a:rPr>
              <a:t>Traditional Definition</a:t>
            </a:r>
          </a:p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tx1"/>
                </a:solidFill>
              </a:rPr>
              <a:t>of Risk Management</a:t>
            </a:r>
          </a:p>
        </p:txBody>
      </p:sp>
      <p:sp>
        <p:nvSpPr>
          <p:cNvPr id="39" name="Text Placeholder 9"/>
          <p:cNvSpPr txBox="1">
            <a:spLocks/>
          </p:cNvSpPr>
          <p:nvPr/>
        </p:nvSpPr>
        <p:spPr>
          <a:xfrm>
            <a:off x="6268594" y="2189663"/>
            <a:ext cx="2133743" cy="689037"/>
          </a:xfrm>
          <a:prstGeom prst="rect">
            <a:avLst/>
          </a:prstGeom>
        </p:spPr>
        <p:txBody>
          <a:bodyPr vert="horz" lIns="0" tIns="34290" rIns="0" bIns="3429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1800" kern="1200">
                <a:solidFill>
                  <a:srgbClr val="EA7600"/>
                </a:solidFill>
                <a:latin typeface="+mj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Broadened Definition</a:t>
            </a:r>
          </a:p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of Risk</a:t>
            </a:r>
          </a:p>
        </p:txBody>
      </p:sp>
      <p:sp>
        <p:nvSpPr>
          <p:cNvPr id="40" name="Oval 39"/>
          <p:cNvSpPr/>
          <p:nvPr/>
        </p:nvSpPr>
        <p:spPr>
          <a:xfrm>
            <a:off x="211330" y="3302144"/>
            <a:ext cx="2263140" cy="226314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bg1"/>
              </a:solidFill>
            </a:endParaRPr>
          </a:p>
          <a:p>
            <a:pPr algn="ctr"/>
            <a:r>
              <a:rPr lang="en-US" sz="1500" dirty="0">
                <a:solidFill>
                  <a:schemeClr val="bg1"/>
                </a:solidFill>
              </a:rPr>
              <a:t>The possibility that something bad or unpleasant will happen.</a:t>
            </a:r>
          </a:p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r"/>
            <a:r>
              <a:rPr lang="en-US" sz="1050" dirty="0">
                <a:solidFill>
                  <a:schemeClr val="bg1"/>
                </a:solidFill>
              </a:rPr>
              <a:t>Merriam-Webster</a:t>
            </a:r>
          </a:p>
        </p:txBody>
      </p:sp>
      <p:sp>
        <p:nvSpPr>
          <p:cNvPr id="41" name="Oval 40"/>
          <p:cNvSpPr/>
          <p:nvPr/>
        </p:nvSpPr>
        <p:spPr>
          <a:xfrm>
            <a:off x="3218607" y="3302144"/>
            <a:ext cx="2263140" cy="226314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bg1"/>
              </a:solidFill>
            </a:endParaRPr>
          </a:p>
          <a:p>
            <a:pPr algn="ctr"/>
            <a:r>
              <a:rPr lang="en-US" sz="1500" dirty="0">
                <a:solidFill>
                  <a:schemeClr val="bg1"/>
                </a:solidFill>
              </a:rPr>
              <a:t>Minimizing the adverse effects of accidental losses.</a:t>
            </a:r>
          </a:p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r"/>
            <a:r>
              <a:rPr lang="en-US" sz="1050" dirty="0">
                <a:solidFill>
                  <a:schemeClr val="bg1"/>
                </a:solidFill>
              </a:rPr>
              <a:t>The Institutes</a:t>
            </a:r>
          </a:p>
        </p:txBody>
      </p:sp>
      <p:sp>
        <p:nvSpPr>
          <p:cNvPr id="42" name="Oval 41"/>
          <p:cNvSpPr/>
          <p:nvPr/>
        </p:nvSpPr>
        <p:spPr>
          <a:xfrm>
            <a:off x="6203896" y="3397791"/>
            <a:ext cx="2263140" cy="22631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bg1"/>
              </a:solidFill>
            </a:endParaRPr>
          </a:p>
          <a:p>
            <a:pPr algn="ctr"/>
            <a:r>
              <a:rPr lang="en-US" sz="1500" dirty="0">
                <a:solidFill>
                  <a:schemeClr val="bg1"/>
                </a:solidFill>
              </a:rPr>
              <a:t>The effect of uncertainty on objectives.</a:t>
            </a:r>
          </a:p>
          <a:p>
            <a:pPr algn="ctr"/>
            <a:endParaRPr lang="en-US" sz="825" dirty="0">
              <a:solidFill>
                <a:schemeClr val="bg1"/>
              </a:solidFill>
            </a:endParaRPr>
          </a:p>
          <a:p>
            <a:pPr algn="r"/>
            <a:r>
              <a:rPr lang="en-US" sz="1050" dirty="0">
                <a:solidFill>
                  <a:schemeClr val="bg1"/>
                </a:solidFill>
              </a:rPr>
              <a:t>ISO 31000</a:t>
            </a:r>
          </a:p>
        </p:txBody>
      </p:sp>
    </p:spTree>
    <p:extLst>
      <p:ext uri="{BB962C8B-B14F-4D97-AF65-F5344CB8AC3E}">
        <p14:creationId xmlns:p14="http://schemas.microsoft.com/office/powerpoint/2010/main" val="1066770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uiExpand="1" build="p"/>
      <p:bldP spid="38" grpId="0"/>
      <p:bldP spid="39" grpId="0"/>
      <p:bldP spid="40" grpId="0" animBg="1"/>
      <p:bldP spid="41" grpId="0" animBg="1"/>
      <p:bldP spid="4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5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64740"/>
            <a:ext cx="8618537" cy="93951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Compare traditional risk management</a:t>
            </a:r>
          </a:p>
          <a:p>
            <a:pPr algn="l"/>
            <a:r>
              <a:rPr lang="en-US" sz="3200" dirty="0"/>
              <a:t> </a:t>
            </a:r>
            <a:r>
              <a:rPr lang="en-US" sz="3200" dirty="0" smtClean="0"/>
              <a:t>   to ERM 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57219" y="1540559"/>
            <a:ext cx="3790575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  <a:cs typeface="Times New Roman" panose="02020603050405020304" pitchFamily="18" charset="0"/>
              </a:rPr>
              <a:t>Traditional Risk Manage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Minimize adverse </a:t>
            </a: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effect </a:t>
            </a: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of accidental loss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Risk office l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Reactive, sporadi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Silos, segment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Often measured by financial impac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pPr algn="r"/>
            <a:r>
              <a:rPr lang="en-US" sz="2800" b="1" dirty="0" smtClean="0">
                <a:cs typeface="Times New Roman" panose="02020603050405020304" pitchFamily="18" charset="0"/>
              </a:rPr>
              <a:t> </a:t>
            </a:r>
            <a:endParaRPr lang="en-US" sz="2800" b="1" dirty="0"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2572" y="1516446"/>
            <a:ext cx="4044099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  <a:cs typeface="Times New Roman" panose="02020603050405020304" pitchFamily="18" charset="0"/>
              </a:rPr>
              <a:t>Enterprise Risk Manage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Effect of uncertainty on objectiv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Agency l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oactiv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olistic, enterprise wid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tegrated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o existing </a:t>
            </a: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actices, cultu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asures financial and non-financial impact/exposure</a:t>
            </a:r>
            <a:endParaRPr lang="en-US" sz="2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pPr algn="r"/>
            <a:r>
              <a:rPr lang="en-US" sz="2800" b="1" dirty="0" smtClean="0">
                <a:cs typeface="Times New Roman" panose="02020603050405020304" pitchFamily="18" charset="0"/>
              </a:rPr>
              <a:t> </a:t>
            </a:r>
            <a:endParaRPr lang="en-US" sz="2800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262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6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6916219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is an industry best practice</a:t>
            </a: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96474307"/>
              </p:ext>
            </p:extLst>
          </p:nvPr>
        </p:nvGraphicFramePr>
        <p:xfrm>
          <a:off x="-65313" y="1676223"/>
          <a:ext cx="8874116" cy="401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318588" y="3232437"/>
            <a:ext cx="21203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2960"/>
                </a:solidFill>
              </a:rPr>
              <a:t>Enterprise Risk Management Cycle</a:t>
            </a:r>
            <a:endParaRPr lang="en-US" sz="2400" b="1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37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7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92195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Seven Steps to ERM</a:t>
            </a:r>
          </a:p>
          <a:p>
            <a:pPr algn="l"/>
            <a:r>
              <a:rPr lang="en-US" sz="3200"/>
              <a:t> </a:t>
            </a:r>
            <a:r>
              <a:rPr lang="en-US" sz="3200" smtClean="0"/>
              <a:t>   </a:t>
            </a:r>
            <a:endParaRPr lang="en-US" sz="32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79195" y="1503871"/>
            <a:ext cx="608759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State the goa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Identify risk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Analyze the risk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ioritiz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Treatment pla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Risk register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Communicate</a:t>
            </a:r>
          </a:p>
          <a:p>
            <a:pPr marL="514350" indent="-514350">
              <a:buFont typeface="+mj-lt"/>
              <a:buAutoNum type="arabicPeriod"/>
            </a:pPr>
            <a:endParaRPr lang="en-US" sz="2400" dirty="0"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667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8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roles and responsibilities</a:t>
            </a:r>
          </a:p>
          <a:p>
            <a:pPr algn="l"/>
            <a:endParaRPr lang="en-US" sz="3200" b="1" dirty="0"/>
          </a:p>
        </p:txBody>
      </p:sp>
      <p:sp>
        <p:nvSpPr>
          <p:cNvPr id="4" name="Rectangle 3"/>
          <p:cNvSpPr/>
          <p:nvPr/>
        </p:nvSpPr>
        <p:spPr>
          <a:xfrm>
            <a:off x="218590" y="1085069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ecutive Tea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01281" y="978781"/>
            <a:ext cx="9886043" cy="144655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Lead ERM efforts,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lang="en-US" sz="2400" dirty="0" smtClean="0">
                <a:solidFill>
                  <a:prstClr val="black"/>
                </a:solidFill>
                <a:latin typeface="+mj-lt"/>
              </a:rPr>
              <a:t>ensure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accountability of risk own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Review</a:t>
            </a:r>
            <a:r>
              <a:rPr lang="en-US" sz="2400" dirty="0">
                <a:solidFill>
                  <a:prstClr val="black"/>
                </a:solidFill>
                <a:latin typeface="+mj-lt"/>
              </a:rPr>
              <a:t>,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approve priorities and risk treatment plan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400" dirty="0" smtClean="0">
                <a:solidFill>
                  <a:prstClr val="black"/>
                </a:solidFill>
                <a:latin typeface="+mj-lt"/>
              </a:rPr>
              <a:t>Implement ERM into management 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8590" y="2509816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 Owner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18590" y="4019652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ject Matter Expert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18590" y="5211975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A Risk M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30400" y="2371704"/>
            <a:ext cx="674972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A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ccountability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 and authority to manage risk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H</a:t>
            </a:r>
            <a:r>
              <a:rPr lang="en-US" sz="2400" dirty="0" smtClea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ighest level of subject matter expert</a:t>
            </a:r>
            <a:endParaRPr lang="en-US" sz="240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2400" dirty="0" smtClean="0">
                <a:latin typeface="+mj-lt"/>
              </a:rPr>
              <a:t>Assemble </a:t>
            </a:r>
            <a:r>
              <a:rPr lang="en-US" altLang="en-US" sz="2400" dirty="0">
                <a:latin typeface="+mj-lt"/>
              </a:rPr>
              <a:t>work </a:t>
            </a:r>
            <a:r>
              <a:rPr lang="en-US" altLang="en-US" sz="2400" dirty="0" smtClean="0">
                <a:latin typeface="+mj-lt"/>
              </a:rPr>
              <a:t>teams, develop treatment plan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2400" dirty="0" smtClean="0">
                <a:latin typeface="+mj-lt"/>
              </a:rPr>
              <a:t>Communicate </a:t>
            </a:r>
            <a:r>
              <a:rPr lang="en-US" altLang="en-US" sz="2400" dirty="0">
                <a:latin typeface="+mj-lt"/>
              </a:rPr>
              <a:t>and </a:t>
            </a:r>
            <a:r>
              <a:rPr lang="en-US" altLang="en-US" sz="2400" dirty="0" smtClean="0">
                <a:latin typeface="+mj-lt"/>
              </a:rPr>
              <a:t>report; Monitor </a:t>
            </a:r>
            <a:r>
              <a:rPr lang="en-US" altLang="en-US" sz="2400" dirty="0">
                <a:latin typeface="+mj-lt"/>
              </a:rPr>
              <a:t>and evaluate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68105" y="5084567"/>
            <a:ext cx="619354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Provide risk</a:t>
            </a:r>
            <a:r>
              <a:rPr lang="en-US" sz="24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US" sz="2400" dirty="0" smtClea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management tool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Provide resources and </a:t>
            </a:r>
            <a:r>
              <a:rPr lang="en-US" sz="2400" dirty="0" smtClea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guidance in ERM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59519" y="4376681"/>
            <a:ext cx="95742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echnical expert in specific areas of risk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468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9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19063" y="230188"/>
            <a:ext cx="6819065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should be integrated into existing </a:t>
            </a:r>
          </a:p>
          <a:p>
            <a:pPr algn="l"/>
            <a:r>
              <a:rPr lang="en-US" sz="3200" dirty="0" smtClean="0"/>
              <a:t>business processes</a:t>
            </a:r>
          </a:p>
          <a:p>
            <a:pPr algn="l"/>
            <a:endParaRPr lang="en-US" sz="3200" b="1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74491" y="1462513"/>
            <a:ext cx="8107680" cy="4419600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+mj-lt"/>
              </a:rPr>
              <a:t>Not new function</a:t>
            </a:r>
          </a:p>
          <a:p>
            <a:pPr marL="231775" indent="-231775"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+mj-lt"/>
              </a:rPr>
              <a:t>Incorporated into: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Strategic Planning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Quality Improvement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Budgeting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Employee Engagement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Committee Structure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Decision-Making</a:t>
            </a:r>
          </a:p>
          <a:p>
            <a:endParaRPr lang="en-US" alt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39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IQd1txGugP9H9H2fka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1571</TotalTime>
  <Words>1188</Words>
  <Application>Microsoft Office PowerPoint</Application>
  <PresentationFormat>On-screen Show (4:3)</PresentationFormat>
  <Paragraphs>323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Arial Narrow</vt:lpstr>
      <vt:lpstr>Calibri</vt:lpstr>
      <vt:lpstr>Calibri Light</vt:lpstr>
      <vt:lpstr>Courier New</vt:lpstr>
      <vt:lpstr>MS Mincho</vt:lpstr>
      <vt:lpstr>Times New Roman</vt:lpstr>
      <vt:lpstr>Wingdings</vt:lpstr>
      <vt:lpstr>Retrospec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me</dc:creator>
  <cp:lastModifiedBy>Thudium, Jacinda</cp:lastModifiedBy>
  <cp:revision>150</cp:revision>
  <cp:lastPrinted>2021-10-12T14:17:07Z</cp:lastPrinted>
  <dcterms:created xsi:type="dcterms:W3CDTF">2020-10-06T20:10:21Z</dcterms:created>
  <dcterms:modified xsi:type="dcterms:W3CDTF">2021-10-12T17:33:39Z</dcterms:modified>
</cp:coreProperties>
</file>